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9" r:id="rId4"/>
    <p:sldMasterId id="2147483778" r:id="rId5"/>
    <p:sldMasterId id="2147483805" r:id="rId6"/>
    <p:sldMasterId id="2147483821" r:id="rId7"/>
    <p:sldMasterId id="2147483828" r:id="rId8"/>
  </p:sldMasterIdLst>
  <p:notesMasterIdLst>
    <p:notesMasterId r:id="rId35"/>
  </p:notesMasterIdLst>
  <p:handoutMasterIdLst>
    <p:handoutMasterId r:id="rId36"/>
  </p:handoutMasterIdLst>
  <p:sldIdLst>
    <p:sldId id="256" r:id="rId9"/>
    <p:sldId id="258" r:id="rId10"/>
    <p:sldId id="259" r:id="rId11"/>
    <p:sldId id="261" r:id="rId12"/>
    <p:sldId id="2145706101" r:id="rId13"/>
    <p:sldId id="1992" r:id="rId14"/>
    <p:sldId id="2494" r:id="rId15"/>
    <p:sldId id="2145706682" r:id="rId16"/>
    <p:sldId id="278" r:id="rId17"/>
    <p:sldId id="280" r:id="rId18"/>
    <p:sldId id="281" r:id="rId19"/>
    <p:sldId id="276" r:id="rId20"/>
    <p:sldId id="2145706684" r:id="rId21"/>
    <p:sldId id="2489" r:id="rId22"/>
    <p:sldId id="2145706161" r:id="rId23"/>
    <p:sldId id="2145706164" r:id="rId24"/>
    <p:sldId id="467" r:id="rId25"/>
    <p:sldId id="2145706165" r:id="rId26"/>
    <p:sldId id="2145706680" r:id="rId27"/>
    <p:sldId id="2145706685" r:id="rId28"/>
    <p:sldId id="2490" r:id="rId29"/>
    <p:sldId id="1994" r:id="rId30"/>
    <p:sldId id="287" r:id="rId31"/>
    <p:sldId id="2495" r:id="rId32"/>
    <p:sldId id="2145707684" r:id="rId33"/>
    <p:sldId id="2493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DSY Overview" id="{93804523-D1D5-4400-8EBE-B53BB78BA199}">
          <p14:sldIdLst>
            <p14:sldId id="256"/>
            <p14:sldId id="258"/>
            <p14:sldId id="259"/>
            <p14:sldId id="261"/>
            <p14:sldId id="2145706101"/>
            <p14:sldId id="1992"/>
            <p14:sldId id="2494"/>
            <p14:sldId id="2145706682"/>
            <p14:sldId id="278"/>
            <p14:sldId id="280"/>
            <p14:sldId id="281"/>
            <p14:sldId id="276"/>
            <p14:sldId id="2145706684"/>
            <p14:sldId id="2489"/>
            <p14:sldId id="2145706161"/>
            <p14:sldId id="2145706164"/>
            <p14:sldId id="467"/>
            <p14:sldId id="2145706165"/>
            <p14:sldId id="2145706680"/>
            <p14:sldId id="2145706685"/>
            <p14:sldId id="2490"/>
            <p14:sldId id="1994"/>
            <p14:sldId id="287"/>
            <p14:sldId id="2495"/>
            <p14:sldId id="2145707684"/>
            <p14:sldId id="249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68DB112-930D-6925-9E2F-711C7C797950}" name="Doran, Brian" initials="DB" userId="S::Brian.Doran@tea.texas.gov::404b808b-7304-49c7-bcdf-2f195c92a744" providerId="AD"/>
  <p188:author id="{5EF59E72-D9BA-600B-BF23-258C3C2F1181}" name="Wilborn-Nieto, Andrea" initials="WA" userId="S::andrea.nieto@tea.texas.gov::561cc4e6-4a43-4d38-8fc8-98a0487015e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tlett, Emma" initials="CE" lastIdx="39" clrIdx="0">
    <p:extLst>
      <p:ext uri="{19B8F6BF-5375-455C-9EA6-DF929625EA0E}">
        <p15:presenceInfo xmlns:p15="http://schemas.microsoft.com/office/powerpoint/2012/main" userId="S::Emma.Catlett@tea.texas.gov::602bba41-4c75-41f2-9730-24d2f1527b8f" providerId="AD"/>
      </p:ext>
    </p:extLst>
  </p:cmAuthor>
  <p:cmAuthor id="2" name="Aguirre, Jennifer" initials="AJ" lastIdx="3" clrIdx="1">
    <p:extLst>
      <p:ext uri="{19B8F6BF-5375-455C-9EA6-DF929625EA0E}">
        <p15:presenceInfo xmlns:p15="http://schemas.microsoft.com/office/powerpoint/2012/main" userId="S::jennifer.aguirre@tea.texas.gov::e2ae6775-8ad8-4eb8-b2e9-556bc9ca65f4" providerId="AD"/>
      </p:ext>
    </p:extLst>
  </p:cmAuthor>
  <p:cmAuthor id="3" name="Simons, Elia" initials="SE" lastIdx="6" clrIdx="2">
    <p:extLst>
      <p:ext uri="{19B8F6BF-5375-455C-9EA6-DF929625EA0E}">
        <p15:presenceInfo xmlns:p15="http://schemas.microsoft.com/office/powerpoint/2012/main" userId="S::Elia.Simons@tea.texas.gov::01c9be67-7802-49c3-af98-98f1614866e7" providerId="AD"/>
      </p:ext>
    </p:extLst>
  </p:cmAuthor>
  <p:cmAuthor id="4" name="Macedonio, Shaelyn" initials="MS" lastIdx="2" clrIdx="3">
    <p:extLst>
      <p:ext uri="{19B8F6BF-5375-455C-9EA6-DF929625EA0E}">
        <p15:presenceInfo xmlns:p15="http://schemas.microsoft.com/office/powerpoint/2012/main" userId="S::Shaelyn.Macedonio@tea.texas.gov::112b655a-fc7c-4df7-8537-09901821b20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18B"/>
    <a:srgbClr val="D93C10"/>
    <a:srgbClr val="4472C4"/>
    <a:srgbClr val="FFFFFF"/>
    <a:srgbClr val="E7E6E6"/>
    <a:srgbClr val="F2F2F2"/>
    <a:srgbClr val="0D6CB9"/>
    <a:srgbClr val="F160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7620B1-112E-4491-92E5-69B7E2FBD184}" v="15" dt="2023-03-21T00:10:47.1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47" autoAdjust="0"/>
    <p:restoredTop sz="93557" autoAdjust="0"/>
  </p:normalViewPr>
  <p:slideViewPr>
    <p:cSldViewPr snapToGrid="0">
      <p:cViewPr>
        <p:scale>
          <a:sx n="60" d="100"/>
          <a:sy n="60" d="100"/>
        </p:scale>
        <p:origin x="-4" y="2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98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ffoletto, Jamie" userId="daf1e3c6-8137-448a-b141-d23049d419b5" providerId="ADAL" clId="{E97620B1-112E-4491-92E5-69B7E2FBD184}"/>
    <pc:docChg chg="custSel modSld modSection">
      <pc:chgData name="Muffoletto, Jamie" userId="daf1e3c6-8137-448a-b141-d23049d419b5" providerId="ADAL" clId="{E97620B1-112E-4491-92E5-69B7E2FBD184}" dt="2023-03-21T00:14:50.586" v="116" actId="962"/>
      <pc:docMkLst>
        <pc:docMk/>
      </pc:docMkLst>
      <pc:sldChg chg="modSp mod">
        <pc:chgData name="Muffoletto, Jamie" userId="daf1e3c6-8137-448a-b141-d23049d419b5" providerId="ADAL" clId="{E97620B1-112E-4491-92E5-69B7E2FBD184}" dt="2023-03-20T23:53:08.373" v="53" actId="13244"/>
        <pc:sldMkLst>
          <pc:docMk/>
          <pc:sldMk cId="196902471" sldId="258"/>
        </pc:sldMkLst>
        <pc:spChg chg="mod">
          <ac:chgData name="Muffoletto, Jamie" userId="daf1e3c6-8137-448a-b141-d23049d419b5" providerId="ADAL" clId="{E97620B1-112E-4491-92E5-69B7E2FBD184}" dt="2023-03-20T23:52:32.696" v="48" actId="1036"/>
          <ac:spMkLst>
            <pc:docMk/>
            <pc:sldMk cId="196902471" sldId="258"/>
            <ac:spMk id="3" creationId="{4C425BE7-E686-483D-9094-407B29A94974}"/>
          </ac:spMkLst>
        </pc:spChg>
        <pc:spChg chg="ord">
          <ac:chgData name="Muffoletto, Jamie" userId="daf1e3c6-8137-448a-b141-d23049d419b5" providerId="ADAL" clId="{E97620B1-112E-4491-92E5-69B7E2FBD184}" dt="2023-03-20T23:53:08.373" v="53" actId="13244"/>
          <ac:spMkLst>
            <pc:docMk/>
            <pc:sldMk cId="196902471" sldId="258"/>
            <ac:spMk id="4" creationId="{AA9C6111-DD15-7D24-4EA8-EC305761BACC}"/>
          </ac:spMkLst>
        </pc:spChg>
        <pc:spChg chg="ord">
          <ac:chgData name="Muffoletto, Jamie" userId="daf1e3c6-8137-448a-b141-d23049d419b5" providerId="ADAL" clId="{E97620B1-112E-4491-92E5-69B7E2FBD184}" dt="2023-03-20T23:52:38.942" v="49" actId="13244"/>
          <ac:spMkLst>
            <pc:docMk/>
            <pc:sldMk cId="196902471" sldId="258"/>
            <ac:spMk id="7" creationId="{8E268F9B-1572-49E8-BC37-549BC34143E4}"/>
          </ac:spMkLst>
        </pc:spChg>
        <pc:spChg chg="ord">
          <ac:chgData name="Muffoletto, Jamie" userId="daf1e3c6-8137-448a-b141-d23049d419b5" providerId="ADAL" clId="{E97620B1-112E-4491-92E5-69B7E2FBD184}" dt="2023-03-20T23:52:44.814" v="50" actId="13244"/>
          <ac:spMkLst>
            <pc:docMk/>
            <pc:sldMk cId="196902471" sldId="258"/>
            <ac:spMk id="8" creationId="{AA1A48A1-BDEB-4A60-B38F-A94B1291F5D8}"/>
          </ac:spMkLst>
        </pc:spChg>
        <pc:picChg chg="ord">
          <ac:chgData name="Muffoletto, Jamie" userId="daf1e3c6-8137-448a-b141-d23049d419b5" providerId="ADAL" clId="{E97620B1-112E-4491-92E5-69B7E2FBD184}" dt="2023-03-20T23:52:56.751" v="52" actId="13244"/>
          <ac:picMkLst>
            <pc:docMk/>
            <pc:sldMk cId="196902471" sldId="258"/>
            <ac:picMk id="9" creationId="{E441D6A7-F6FF-4863-9D5E-96AEA6C2FEE7}"/>
          </ac:picMkLst>
        </pc:picChg>
      </pc:sldChg>
      <pc:sldChg chg="modSp mod">
        <pc:chgData name="Muffoletto, Jamie" userId="daf1e3c6-8137-448a-b141-d23049d419b5" providerId="ADAL" clId="{E97620B1-112E-4491-92E5-69B7E2FBD184}" dt="2023-03-20T23:54:44.387" v="55" actId="13244"/>
        <pc:sldMkLst>
          <pc:docMk/>
          <pc:sldMk cId="1922549001" sldId="259"/>
        </pc:sldMkLst>
        <pc:spChg chg="ord">
          <ac:chgData name="Muffoletto, Jamie" userId="daf1e3c6-8137-448a-b141-d23049d419b5" providerId="ADAL" clId="{E97620B1-112E-4491-92E5-69B7E2FBD184}" dt="2023-03-20T23:54:41.275" v="54" actId="13244"/>
          <ac:spMkLst>
            <pc:docMk/>
            <pc:sldMk cId="1922549001" sldId="259"/>
            <ac:spMk id="5" creationId="{7EB5D7A2-B205-45B4-9099-B9723E6930C5}"/>
          </ac:spMkLst>
        </pc:spChg>
        <pc:picChg chg="ord">
          <ac:chgData name="Muffoletto, Jamie" userId="daf1e3c6-8137-448a-b141-d23049d419b5" providerId="ADAL" clId="{E97620B1-112E-4491-92E5-69B7E2FBD184}" dt="2023-03-20T23:54:44.387" v="55" actId="13244"/>
          <ac:picMkLst>
            <pc:docMk/>
            <pc:sldMk cId="1922549001" sldId="259"/>
            <ac:picMk id="6" creationId="{1D27E301-6586-4F3C-8938-AB100360336A}"/>
          </ac:picMkLst>
        </pc:picChg>
      </pc:sldChg>
      <pc:sldChg chg="modSp mod">
        <pc:chgData name="Muffoletto, Jamie" userId="daf1e3c6-8137-448a-b141-d23049d419b5" providerId="ADAL" clId="{E97620B1-112E-4491-92E5-69B7E2FBD184}" dt="2023-03-20T23:40:54.999" v="0" actId="962"/>
        <pc:sldMkLst>
          <pc:docMk/>
          <pc:sldMk cId="3961544700" sldId="261"/>
        </pc:sldMkLst>
        <pc:picChg chg="mod">
          <ac:chgData name="Muffoletto, Jamie" userId="daf1e3c6-8137-448a-b141-d23049d419b5" providerId="ADAL" clId="{E97620B1-112E-4491-92E5-69B7E2FBD184}" dt="2023-03-20T23:40:54.999" v="0" actId="962"/>
          <ac:picMkLst>
            <pc:docMk/>
            <pc:sldMk cId="3961544700" sldId="261"/>
            <ac:picMk id="4" creationId="{901ADA3B-6330-6E6A-965A-289E6DDA6BC3}"/>
          </ac:picMkLst>
        </pc:picChg>
      </pc:sldChg>
      <pc:sldChg chg="delSp modSp mod">
        <pc:chgData name="Muffoletto, Jamie" userId="daf1e3c6-8137-448a-b141-d23049d419b5" providerId="ADAL" clId="{E97620B1-112E-4491-92E5-69B7E2FBD184}" dt="2023-03-21T00:07:00.007" v="72" actId="478"/>
        <pc:sldMkLst>
          <pc:docMk/>
          <pc:sldMk cId="2676377187" sldId="276"/>
        </pc:sldMkLst>
        <pc:spChg chg="ord">
          <ac:chgData name="Muffoletto, Jamie" userId="daf1e3c6-8137-448a-b141-d23049d419b5" providerId="ADAL" clId="{E97620B1-112E-4491-92E5-69B7E2FBD184}" dt="2023-03-21T00:06:39.449" v="70" actId="13244"/>
          <ac:spMkLst>
            <pc:docMk/>
            <pc:sldMk cId="2676377187" sldId="276"/>
            <ac:spMk id="3" creationId="{C084860B-1B6F-4B78-A0C9-8E679D0D4E42}"/>
          </ac:spMkLst>
        </pc:spChg>
        <pc:picChg chg="ord">
          <ac:chgData name="Muffoletto, Jamie" userId="daf1e3c6-8137-448a-b141-d23049d419b5" providerId="ADAL" clId="{E97620B1-112E-4491-92E5-69B7E2FBD184}" dt="2023-03-21T00:06:46.352" v="71" actId="13244"/>
          <ac:picMkLst>
            <pc:docMk/>
            <pc:sldMk cId="2676377187" sldId="276"/>
            <ac:picMk id="9" creationId="{853ED48E-4A07-4E47-BE92-C2FABDE79F6D}"/>
          </ac:picMkLst>
        </pc:picChg>
        <pc:picChg chg="del">
          <ac:chgData name="Muffoletto, Jamie" userId="daf1e3c6-8137-448a-b141-d23049d419b5" providerId="ADAL" clId="{E97620B1-112E-4491-92E5-69B7E2FBD184}" dt="2023-03-21T00:07:00.007" v="72" actId="478"/>
          <ac:picMkLst>
            <pc:docMk/>
            <pc:sldMk cId="2676377187" sldId="276"/>
            <ac:picMk id="13" creationId="{A7653894-29A7-8EAD-071E-31CD02501460}"/>
          </ac:picMkLst>
        </pc:picChg>
      </pc:sldChg>
      <pc:sldChg chg="modSp mod">
        <pc:chgData name="Muffoletto, Jamie" userId="daf1e3c6-8137-448a-b141-d23049d419b5" providerId="ADAL" clId="{E97620B1-112E-4491-92E5-69B7E2FBD184}" dt="2023-03-21T00:13:59.200" v="109" actId="962"/>
        <pc:sldMkLst>
          <pc:docMk/>
          <pc:sldMk cId="1379263190" sldId="278"/>
        </pc:sldMkLst>
        <pc:picChg chg="mod">
          <ac:chgData name="Muffoletto, Jamie" userId="daf1e3c6-8137-448a-b141-d23049d419b5" providerId="ADAL" clId="{E97620B1-112E-4491-92E5-69B7E2FBD184}" dt="2023-03-21T00:13:59.200" v="109" actId="962"/>
          <ac:picMkLst>
            <pc:docMk/>
            <pc:sldMk cId="1379263190" sldId="278"/>
            <ac:picMk id="4" creationId="{C1B611A0-5854-2FC4-7E20-997EBE40AD52}"/>
          </ac:picMkLst>
        </pc:picChg>
        <pc:picChg chg="mod">
          <ac:chgData name="Muffoletto, Jamie" userId="daf1e3c6-8137-448a-b141-d23049d419b5" providerId="ADAL" clId="{E97620B1-112E-4491-92E5-69B7E2FBD184}" dt="2023-03-20T23:41:18.448" v="5" actId="962"/>
          <ac:picMkLst>
            <pc:docMk/>
            <pc:sldMk cId="1379263190" sldId="278"/>
            <ac:picMk id="10" creationId="{E540D7EF-327F-45C6-80E2-0AB36B268A3B}"/>
          </ac:picMkLst>
        </pc:picChg>
      </pc:sldChg>
      <pc:sldChg chg="modSp mod">
        <pc:chgData name="Muffoletto, Jamie" userId="daf1e3c6-8137-448a-b141-d23049d419b5" providerId="ADAL" clId="{E97620B1-112E-4491-92E5-69B7E2FBD184}" dt="2023-03-21T00:14:08.123" v="110" actId="962"/>
        <pc:sldMkLst>
          <pc:docMk/>
          <pc:sldMk cId="3165437568" sldId="280"/>
        </pc:sldMkLst>
        <pc:picChg chg="mod">
          <ac:chgData name="Muffoletto, Jamie" userId="daf1e3c6-8137-448a-b141-d23049d419b5" providerId="ADAL" clId="{E97620B1-112E-4491-92E5-69B7E2FBD184}" dt="2023-03-21T00:14:08.123" v="110" actId="962"/>
          <ac:picMkLst>
            <pc:docMk/>
            <pc:sldMk cId="3165437568" sldId="280"/>
            <ac:picMk id="4" creationId="{1487A5D2-764E-408A-80DA-F84E577BF7EE}"/>
          </ac:picMkLst>
        </pc:picChg>
        <pc:picChg chg="mod">
          <ac:chgData name="Muffoletto, Jamie" userId="daf1e3c6-8137-448a-b141-d23049d419b5" providerId="ADAL" clId="{E97620B1-112E-4491-92E5-69B7E2FBD184}" dt="2023-03-20T23:41:21.926" v="6" actId="962"/>
          <ac:picMkLst>
            <pc:docMk/>
            <pc:sldMk cId="3165437568" sldId="280"/>
            <ac:picMk id="5" creationId="{C8F0206C-2146-4C51-916C-88DAC2327397}"/>
          </ac:picMkLst>
        </pc:picChg>
      </pc:sldChg>
      <pc:sldChg chg="modSp mod">
        <pc:chgData name="Muffoletto, Jamie" userId="daf1e3c6-8137-448a-b141-d23049d419b5" providerId="ADAL" clId="{E97620B1-112E-4491-92E5-69B7E2FBD184}" dt="2023-03-21T00:14:16.618" v="111" actId="962"/>
        <pc:sldMkLst>
          <pc:docMk/>
          <pc:sldMk cId="2478920074" sldId="281"/>
        </pc:sldMkLst>
        <pc:picChg chg="mod">
          <ac:chgData name="Muffoletto, Jamie" userId="daf1e3c6-8137-448a-b141-d23049d419b5" providerId="ADAL" clId="{E97620B1-112E-4491-92E5-69B7E2FBD184}" dt="2023-03-21T00:14:16.618" v="111" actId="962"/>
          <ac:picMkLst>
            <pc:docMk/>
            <pc:sldMk cId="2478920074" sldId="281"/>
            <ac:picMk id="4" creationId="{C0BE4CBB-694F-C826-EB83-A2D9CB4A4DA1}"/>
          </ac:picMkLst>
        </pc:picChg>
        <pc:picChg chg="mod">
          <ac:chgData name="Muffoletto, Jamie" userId="daf1e3c6-8137-448a-b141-d23049d419b5" providerId="ADAL" clId="{E97620B1-112E-4491-92E5-69B7E2FBD184}" dt="2023-03-20T23:41:25.939" v="7" actId="962"/>
          <ac:picMkLst>
            <pc:docMk/>
            <pc:sldMk cId="2478920074" sldId="281"/>
            <ac:picMk id="8" creationId="{A717C704-9B34-468A-A080-D7D081044259}"/>
          </ac:picMkLst>
        </pc:picChg>
      </pc:sldChg>
      <pc:sldChg chg="modSp mod">
        <pc:chgData name="Muffoletto, Jamie" userId="daf1e3c6-8137-448a-b141-d23049d419b5" providerId="ADAL" clId="{E97620B1-112E-4491-92E5-69B7E2FBD184}" dt="2023-03-20T23:43:35.360" v="26" actId="962"/>
        <pc:sldMkLst>
          <pc:docMk/>
          <pc:sldMk cId="826874689" sldId="287"/>
        </pc:sldMkLst>
        <pc:picChg chg="mod">
          <ac:chgData name="Muffoletto, Jamie" userId="daf1e3c6-8137-448a-b141-d23049d419b5" providerId="ADAL" clId="{E97620B1-112E-4491-92E5-69B7E2FBD184}" dt="2023-03-20T23:43:35.360" v="26" actId="962"/>
          <ac:picMkLst>
            <pc:docMk/>
            <pc:sldMk cId="826874689" sldId="287"/>
            <ac:picMk id="4" creationId="{8A6EE8C0-1038-485C-96E8-37123E393E95}"/>
          </ac:picMkLst>
        </pc:picChg>
      </pc:sldChg>
      <pc:sldChg chg="modSp mod delCm">
        <pc:chgData name="Muffoletto, Jamie" userId="daf1e3c6-8137-448a-b141-d23049d419b5" providerId="ADAL" clId="{E97620B1-112E-4491-92E5-69B7E2FBD184}" dt="2023-03-21T00:11:22.582" v="96" actId="13244"/>
        <pc:sldMkLst>
          <pc:docMk/>
          <pc:sldMk cId="911818243" sldId="467"/>
        </pc:sldMkLst>
        <pc:graphicFrameChg chg="mod ord modGraphic">
          <ac:chgData name="Muffoletto, Jamie" userId="daf1e3c6-8137-448a-b141-d23049d419b5" providerId="ADAL" clId="{E97620B1-112E-4491-92E5-69B7E2FBD184}" dt="2023-03-21T00:11:22.582" v="96" actId="13244"/>
          <ac:graphicFrameMkLst>
            <pc:docMk/>
            <pc:sldMk cId="911818243" sldId="467"/>
            <ac:graphicFrameMk id="5" creationId="{6E83E82D-FBF0-463C-9B56-005C4138CF5F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Muffoletto, Jamie" userId="daf1e3c6-8137-448a-b141-d23049d419b5" providerId="ADAL" clId="{E97620B1-112E-4491-92E5-69B7E2FBD184}" dt="2023-03-20T23:45:26.751" v="40"/>
              <pc2:cmMkLst xmlns:pc2="http://schemas.microsoft.com/office/powerpoint/2019/9/main/command">
                <pc:docMk/>
                <pc:sldMk cId="911818243" sldId="467"/>
                <pc2:cmMk id="{A8345E28-B36A-40B0-90A9-13E7B056FCAB}"/>
              </pc2:cmMkLst>
            </pc226:cmChg>
          </p:ext>
        </pc:extLst>
      </pc:sldChg>
      <pc:sldChg chg="modSp mod">
        <pc:chgData name="Muffoletto, Jamie" userId="daf1e3c6-8137-448a-b141-d23049d419b5" providerId="ADAL" clId="{E97620B1-112E-4491-92E5-69B7E2FBD184}" dt="2023-03-21T00:13:24.366" v="105" actId="962"/>
        <pc:sldMkLst>
          <pc:docMk/>
          <pc:sldMk cId="0" sldId="1992"/>
        </pc:sldMkLst>
        <pc:picChg chg="mod">
          <ac:chgData name="Muffoletto, Jamie" userId="daf1e3c6-8137-448a-b141-d23049d419b5" providerId="ADAL" clId="{E97620B1-112E-4491-92E5-69B7E2FBD184}" dt="2023-03-21T00:13:24.366" v="105" actId="962"/>
          <ac:picMkLst>
            <pc:docMk/>
            <pc:sldMk cId="0" sldId="1992"/>
            <ac:picMk id="2" creationId="{4B2A8E5C-B620-C957-747B-219E6A2B81E2}"/>
          </ac:picMkLst>
        </pc:picChg>
        <pc:picChg chg="mod">
          <ac:chgData name="Muffoletto, Jamie" userId="daf1e3c6-8137-448a-b141-d23049d419b5" providerId="ADAL" clId="{E97620B1-112E-4491-92E5-69B7E2FBD184}" dt="2023-03-20T23:41:08.036" v="3" actId="962"/>
          <ac:picMkLst>
            <pc:docMk/>
            <pc:sldMk cId="0" sldId="1992"/>
            <ac:picMk id="4" creationId="{ED96E168-B6B3-B9C8-3AB8-A062188264A6}"/>
          </ac:picMkLst>
        </pc:picChg>
      </pc:sldChg>
      <pc:sldChg chg="modSp mod">
        <pc:chgData name="Muffoletto, Jamie" userId="daf1e3c6-8137-448a-b141-d23049d419b5" providerId="ADAL" clId="{E97620B1-112E-4491-92E5-69B7E2FBD184}" dt="2023-03-20T23:45:09.407" v="37" actId="207"/>
        <pc:sldMkLst>
          <pc:docMk/>
          <pc:sldMk cId="0" sldId="1994"/>
        </pc:sldMkLst>
        <pc:graphicFrameChg chg="modGraphic">
          <ac:chgData name="Muffoletto, Jamie" userId="daf1e3c6-8137-448a-b141-d23049d419b5" providerId="ADAL" clId="{E97620B1-112E-4491-92E5-69B7E2FBD184}" dt="2023-03-20T23:45:09.407" v="37" actId="207"/>
          <ac:graphicFrameMkLst>
            <pc:docMk/>
            <pc:sldMk cId="0" sldId="1994"/>
            <ac:graphicFrameMk id="464" creationId="{00000000-0000-0000-0000-000000000000}"/>
          </ac:graphicFrameMkLst>
        </pc:graphicFrameChg>
      </pc:sldChg>
      <pc:sldChg chg="modSp mod">
        <pc:chgData name="Muffoletto, Jamie" userId="daf1e3c6-8137-448a-b141-d23049d419b5" providerId="ADAL" clId="{E97620B1-112E-4491-92E5-69B7E2FBD184}" dt="2023-03-20T23:45:19.414" v="39" actId="207"/>
        <pc:sldMkLst>
          <pc:docMk/>
          <pc:sldMk cId="744649628" sldId="2493"/>
        </pc:sldMkLst>
        <pc:spChg chg="mod">
          <ac:chgData name="Muffoletto, Jamie" userId="daf1e3c6-8137-448a-b141-d23049d419b5" providerId="ADAL" clId="{E97620B1-112E-4491-92E5-69B7E2FBD184}" dt="2023-03-20T23:45:19.414" v="39" actId="207"/>
          <ac:spMkLst>
            <pc:docMk/>
            <pc:sldMk cId="744649628" sldId="2493"/>
            <ac:spMk id="4" creationId="{99BC4E33-8203-4342-9070-BFCA3000D664}"/>
          </ac:spMkLst>
        </pc:spChg>
      </pc:sldChg>
      <pc:sldChg chg="delSp modSp mod">
        <pc:chgData name="Muffoletto, Jamie" userId="daf1e3c6-8137-448a-b141-d23049d419b5" providerId="ADAL" clId="{E97620B1-112E-4491-92E5-69B7E2FBD184}" dt="2023-03-21T00:04:35.109" v="63" actId="478"/>
        <pc:sldMkLst>
          <pc:docMk/>
          <pc:sldMk cId="96971812" sldId="2494"/>
        </pc:sldMkLst>
        <pc:spChg chg="ord">
          <ac:chgData name="Muffoletto, Jamie" userId="daf1e3c6-8137-448a-b141-d23049d419b5" providerId="ADAL" clId="{E97620B1-112E-4491-92E5-69B7E2FBD184}" dt="2023-03-21T00:03:39.989" v="61" actId="13244"/>
          <ac:spMkLst>
            <pc:docMk/>
            <pc:sldMk cId="96971812" sldId="2494"/>
            <ac:spMk id="3" creationId="{8CDD3914-AC4F-4866-899E-B8330867A2F5}"/>
          </ac:spMkLst>
        </pc:spChg>
        <pc:spChg chg="del mod ord">
          <ac:chgData name="Muffoletto, Jamie" userId="daf1e3c6-8137-448a-b141-d23049d419b5" providerId="ADAL" clId="{E97620B1-112E-4491-92E5-69B7E2FBD184}" dt="2023-03-21T00:04:35.109" v="63" actId="478"/>
          <ac:spMkLst>
            <pc:docMk/>
            <pc:sldMk cId="96971812" sldId="2494"/>
            <ac:spMk id="5" creationId="{C1C2942C-7EEE-4A5D-892F-F1200D2516E6}"/>
          </ac:spMkLst>
        </pc:spChg>
        <pc:spChg chg="mod">
          <ac:chgData name="Muffoletto, Jamie" userId="daf1e3c6-8137-448a-b141-d23049d419b5" providerId="ADAL" clId="{E97620B1-112E-4491-92E5-69B7E2FBD184}" dt="2023-03-21T00:03:21.692" v="60" actId="13244"/>
          <ac:spMkLst>
            <pc:docMk/>
            <pc:sldMk cId="96971812" sldId="2494"/>
            <ac:spMk id="6" creationId="{48C03C1D-73A7-4833-A9B9-AE47458693C1}"/>
          </ac:spMkLst>
        </pc:spChg>
        <pc:picChg chg="del">
          <ac:chgData name="Muffoletto, Jamie" userId="daf1e3c6-8137-448a-b141-d23049d419b5" providerId="ADAL" clId="{E97620B1-112E-4491-92E5-69B7E2FBD184}" dt="2023-03-21T00:04:30.766" v="62" actId="478"/>
          <ac:picMkLst>
            <pc:docMk/>
            <pc:sldMk cId="96971812" sldId="2494"/>
            <ac:picMk id="4" creationId="{81FD11DB-A276-FABB-3268-1F338246BBD0}"/>
          </ac:picMkLst>
        </pc:picChg>
        <pc:picChg chg="ord">
          <ac:chgData name="Muffoletto, Jamie" userId="daf1e3c6-8137-448a-b141-d23049d419b5" providerId="ADAL" clId="{E97620B1-112E-4491-92E5-69B7E2FBD184}" dt="2023-03-21T00:02:43.432" v="58" actId="13244"/>
          <ac:picMkLst>
            <pc:docMk/>
            <pc:sldMk cId="96971812" sldId="2494"/>
            <ac:picMk id="12" creationId="{1C489BDC-4B3C-4252-9F7E-B918B788F829}"/>
          </ac:picMkLst>
        </pc:picChg>
      </pc:sldChg>
      <pc:sldChg chg="modSp mod">
        <pc:chgData name="Muffoletto, Jamie" userId="daf1e3c6-8137-448a-b141-d23049d419b5" providerId="ADAL" clId="{E97620B1-112E-4491-92E5-69B7E2FBD184}" dt="2023-03-20T23:44:12.454" v="30" actId="33553"/>
        <pc:sldMkLst>
          <pc:docMk/>
          <pc:sldMk cId="2597171587" sldId="2145706101"/>
        </pc:sldMkLst>
        <pc:spChg chg="mod">
          <ac:chgData name="Muffoletto, Jamie" userId="daf1e3c6-8137-448a-b141-d23049d419b5" providerId="ADAL" clId="{E97620B1-112E-4491-92E5-69B7E2FBD184}" dt="2023-03-20T23:44:12.454" v="30" actId="33553"/>
          <ac:spMkLst>
            <pc:docMk/>
            <pc:sldMk cId="2597171587" sldId="2145706101"/>
            <ac:spMk id="8" creationId="{91988BBF-81F3-4487-A8BD-7CA1F32DCA59}"/>
          </ac:spMkLst>
        </pc:spChg>
        <pc:graphicFrameChg chg="mod">
          <ac:chgData name="Muffoletto, Jamie" userId="daf1e3c6-8137-448a-b141-d23049d419b5" providerId="ADAL" clId="{E97620B1-112E-4491-92E5-69B7E2FBD184}" dt="2023-03-20T23:40:58.970" v="1" actId="962"/>
          <ac:graphicFrameMkLst>
            <pc:docMk/>
            <pc:sldMk cId="2597171587" sldId="2145706101"/>
            <ac:graphicFrameMk id="32" creationId="{83F11AF0-495E-4359-BA3C-0DA8792D5D18}"/>
          </ac:graphicFrameMkLst>
        </pc:graphicFrameChg>
        <pc:picChg chg="mod">
          <ac:chgData name="Muffoletto, Jamie" userId="daf1e3c6-8137-448a-b141-d23049d419b5" providerId="ADAL" clId="{E97620B1-112E-4491-92E5-69B7E2FBD184}" dt="2023-03-20T23:41:04.443" v="2" actId="962"/>
          <ac:picMkLst>
            <pc:docMk/>
            <pc:sldMk cId="2597171587" sldId="2145706101"/>
            <ac:picMk id="3" creationId="{5909449C-0F0B-206E-90A4-6A4925FF028D}"/>
          </ac:picMkLst>
        </pc:picChg>
      </pc:sldChg>
      <pc:sldChg chg="modSp mod">
        <pc:chgData name="Muffoletto, Jamie" userId="daf1e3c6-8137-448a-b141-d23049d419b5" providerId="ADAL" clId="{E97620B1-112E-4491-92E5-69B7E2FBD184}" dt="2023-03-20T23:51:36.243" v="47" actId="20577"/>
        <pc:sldMkLst>
          <pc:docMk/>
          <pc:sldMk cId="2555011053" sldId="2145706161"/>
        </pc:sldMkLst>
        <pc:spChg chg="mod">
          <ac:chgData name="Muffoletto, Jamie" userId="daf1e3c6-8137-448a-b141-d23049d419b5" providerId="ADAL" clId="{E97620B1-112E-4491-92E5-69B7E2FBD184}" dt="2023-03-20T23:51:36.243" v="47" actId="20577"/>
          <ac:spMkLst>
            <pc:docMk/>
            <pc:sldMk cId="2555011053" sldId="2145706161"/>
            <ac:spMk id="2" creationId="{02D1301C-14D6-42D4-A292-0328D3629016}"/>
          </ac:spMkLst>
        </pc:spChg>
        <pc:picChg chg="mod">
          <ac:chgData name="Muffoletto, Jamie" userId="daf1e3c6-8137-448a-b141-d23049d419b5" providerId="ADAL" clId="{E97620B1-112E-4491-92E5-69B7E2FBD184}" dt="2023-03-20T23:41:29.384" v="8" actId="962"/>
          <ac:picMkLst>
            <pc:docMk/>
            <pc:sldMk cId="2555011053" sldId="2145706161"/>
            <ac:picMk id="5" creationId="{1C3B7672-8138-1C00-CC3F-FAE5378D9A85}"/>
          </ac:picMkLst>
        </pc:picChg>
      </pc:sldChg>
      <pc:sldChg chg="addSp delSp modSp mod">
        <pc:chgData name="Muffoletto, Jamie" userId="daf1e3c6-8137-448a-b141-d23049d419b5" providerId="ADAL" clId="{E97620B1-112E-4491-92E5-69B7E2FBD184}" dt="2023-03-21T00:14:31.031" v="113" actId="962"/>
        <pc:sldMkLst>
          <pc:docMk/>
          <pc:sldMk cId="323563824" sldId="2145706164"/>
        </pc:sldMkLst>
        <pc:spChg chg="mod">
          <ac:chgData name="Muffoletto, Jamie" userId="daf1e3c6-8137-448a-b141-d23049d419b5" providerId="ADAL" clId="{E97620B1-112E-4491-92E5-69B7E2FBD184}" dt="2023-03-21T00:10:33.017" v="85" actId="1076"/>
          <ac:spMkLst>
            <pc:docMk/>
            <pc:sldMk cId="323563824" sldId="2145706164"/>
            <ac:spMk id="2" creationId="{DEA323A0-D305-FF55-E234-5B5CF452C068}"/>
          </ac:spMkLst>
        </pc:spChg>
        <pc:spChg chg="del ord">
          <ac:chgData name="Muffoletto, Jamie" userId="daf1e3c6-8137-448a-b141-d23049d419b5" providerId="ADAL" clId="{E97620B1-112E-4491-92E5-69B7E2FBD184}" dt="2023-03-21T00:08:51.888" v="81" actId="478"/>
          <ac:spMkLst>
            <pc:docMk/>
            <pc:sldMk cId="323563824" sldId="2145706164"/>
            <ac:spMk id="3" creationId="{587FB3D4-2F3A-6174-36B1-2E128B107EDD}"/>
          </ac:spMkLst>
        </pc:spChg>
        <pc:spChg chg="del mod ord">
          <ac:chgData name="Muffoletto, Jamie" userId="daf1e3c6-8137-448a-b141-d23049d419b5" providerId="ADAL" clId="{E97620B1-112E-4491-92E5-69B7E2FBD184}" dt="2023-03-21T00:10:40.935" v="87" actId="478"/>
          <ac:spMkLst>
            <pc:docMk/>
            <pc:sldMk cId="323563824" sldId="2145706164"/>
            <ac:spMk id="5" creationId="{61B0EF72-F3BB-EB3F-5523-B40AF8E86E2D}"/>
          </ac:spMkLst>
        </pc:spChg>
        <pc:spChg chg="del ord">
          <ac:chgData name="Muffoletto, Jamie" userId="daf1e3c6-8137-448a-b141-d23049d419b5" providerId="ADAL" clId="{E97620B1-112E-4491-92E5-69B7E2FBD184}" dt="2023-03-21T00:10:45.077" v="88" actId="478"/>
          <ac:spMkLst>
            <pc:docMk/>
            <pc:sldMk cId="323563824" sldId="2145706164"/>
            <ac:spMk id="6" creationId="{C838A0E1-A554-5DBB-C591-B09C5A250ADA}"/>
          </ac:spMkLst>
        </pc:spChg>
        <pc:picChg chg="del mod">
          <ac:chgData name="Muffoletto, Jamie" userId="daf1e3c6-8137-448a-b141-d23049d419b5" providerId="ADAL" clId="{E97620B1-112E-4491-92E5-69B7E2FBD184}" dt="2023-03-21T00:10:26.878" v="84" actId="478"/>
          <ac:picMkLst>
            <pc:docMk/>
            <pc:sldMk cId="323563824" sldId="2145706164"/>
            <ac:picMk id="4" creationId="{FAED0AE9-7194-46B8-667B-2DD9304BD6DC}"/>
          </ac:picMkLst>
        </pc:picChg>
        <pc:picChg chg="mod ord">
          <ac:chgData name="Muffoletto, Jamie" userId="daf1e3c6-8137-448a-b141-d23049d419b5" providerId="ADAL" clId="{E97620B1-112E-4491-92E5-69B7E2FBD184}" dt="2023-03-21T00:14:31.031" v="113" actId="962"/>
          <ac:picMkLst>
            <pc:docMk/>
            <pc:sldMk cId="323563824" sldId="2145706164"/>
            <ac:picMk id="7" creationId="{B2440409-344F-942B-2E6D-E3B908C5A715}"/>
          </ac:picMkLst>
        </pc:picChg>
        <pc:picChg chg="add mod">
          <ac:chgData name="Muffoletto, Jamie" userId="daf1e3c6-8137-448a-b141-d23049d419b5" providerId="ADAL" clId="{E97620B1-112E-4491-92E5-69B7E2FBD184}" dt="2023-03-21T00:11:13.127" v="95" actId="962"/>
          <ac:picMkLst>
            <pc:docMk/>
            <pc:sldMk cId="323563824" sldId="2145706164"/>
            <ac:picMk id="9" creationId="{4E55DF15-1AEB-D08F-02A9-85D46B41D152}"/>
          </ac:picMkLst>
        </pc:picChg>
        <pc:picChg chg="del mod">
          <ac:chgData name="Muffoletto, Jamie" userId="daf1e3c6-8137-448a-b141-d23049d419b5" providerId="ADAL" clId="{E97620B1-112E-4491-92E5-69B7E2FBD184}" dt="2023-03-21T00:10:47.186" v="89" actId="478"/>
          <ac:picMkLst>
            <pc:docMk/>
            <pc:sldMk cId="323563824" sldId="2145706164"/>
            <ac:picMk id="1026" creationId="{7BACEF08-FD27-51F0-8A5E-E04B78EC7BFA}"/>
          </ac:picMkLst>
        </pc:picChg>
      </pc:sldChg>
      <pc:sldChg chg="addSp delSp modSp mod delAnim">
        <pc:chgData name="Muffoletto, Jamie" userId="daf1e3c6-8137-448a-b141-d23049d419b5" providerId="ADAL" clId="{E97620B1-112E-4491-92E5-69B7E2FBD184}" dt="2023-03-21T00:11:47.972" v="98" actId="13244"/>
        <pc:sldMkLst>
          <pc:docMk/>
          <pc:sldMk cId="4244882782" sldId="2145706165"/>
        </pc:sldMkLst>
        <pc:spChg chg="ord">
          <ac:chgData name="Muffoletto, Jamie" userId="daf1e3c6-8137-448a-b141-d23049d419b5" providerId="ADAL" clId="{E97620B1-112E-4491-92E5-69B7E2FBD184}" dt="2023-03-21T00:11:47.972" v="98" actId="13244"/>
          <ac:spMkLst>
            <pc:docMk/>
            <pc:sldMk cId="4244882782" sldId="2145706165"/>
            <ac:spMk id="4" creationId="{9059D8AE-F5E1-8504-EB1E-F0126981BBCB}"/>
          </ac:spMkLst>
        </pc:spChg>
        <pc:spChg chg="ord">
          <ac:chgData name="Muffoletto, Jamie" userId="daf1e3c6-8137-448a-b141-d23049d419b5" providerId="ADAL" clId="{E97620B1-112E-4491-92E5-69B7E2FBD184}" dt="2023-03-21T00:11:44.695" v="97" actId="13244"/>
          <ac:spMkLst>
            <pc:docMk/>
            <pc:sldMk cId="4244882782" sldId="2145706165"/>
            <ac:spMk id="5" creationId="{74ACB12D-12E4-AE29-20A3-D174CEDE8055}"/>
          </ac:spMkLst>
        </pc:spChg>
        <pc:spChg chg="del">
          <ac:chgData name="Muffoletto, Jamie" userId="daf1e3c6-8137-448a-b141-d23049d419b5" providerId="ADAL" clId="{E97620B1-112E-4491-92E5-69B7E2FBD184}" dt="2023-03-20T23:42:23.096" v="15" actId="478"/>
          <ac:spMkLst>
            <pc:docMk/>
            <pc:sldMk cId="4244882782" sldId="2145706165"/>
            <ac:spMk id="19" creationId="{CF1BD0C4-A57B-6B2D-E6E0-B78BF6798C76}"/>
          </ac:spMkLst>
        </pc:spChg>
        <pc:spChg chg="del">
          <ac:chgData name="Muffoletto, Jamie" userId="daf1e3c6-8137-448a-b141-d23049d419b5" providerId="ADAL" clId="{E97620B1-112E-4491-92E5-69B7E2FBD184}" dt="2023-03-20T23:42:23.096" v="15" actId="478"/>
          <ac:spMkLst>
            <pc:docMk/>
            <pc:sldMk cId="4244882782" sldId="2145706165"/>
            <ac:spMk id="27" creationId="{F7062BBC-4B4C-354D-5D5F-4EEF7EB23733}"/>
          </ac:spMkLst>
        </pc:spChg>
        <pc:spChg chg="del">
          <ac:chgData name="Muffoletto, Jamie" userId="daf1e3c6-8137-448a-b141-d23049d419b5" providerId="ADAL" clId="{E97620B1-112E-4491-92E5-69B7E2FBD184}" dt="2023-03-20T23:42:31.028" v="16" actId="478"/>
          <ac:spMkLst>
            <pc:docMk/>
            <pc:sldMk cId="4244882782" sldId="2145706165"/>
            <ac:spMk id="33" creationId="{15FEAECA-72B1-34E9-BB14-F4DEA318E669}"/>
          </ac:spMkLst>
        </pc:spChg>
        <pc:spChg chg="del">
          <ac:chgData name="Muffoletto, Jamie" userId="daf1e3c6-8137-448a-b141-d23049d419b5" providerId="ADAL" clId="{E97620B1-112E-4491-92E5-69B7E2FBD184}" dt="2023-03-20T23:42:23.096" v="15" actId="478"/>
          <ac:spMkLst>
            <pc:docMk/>
            <pc:sldMk cId="4244882782" sldId="2145706165"/>
            <ac:spMk id="34" creationId="{7FAA2BDC-A11C-0A4E-ED6C-B7670A546A4C}"/>
          </ac:spMkLst>
        </pc:spChg>
        <pc:spChg chg="del">
          <ac:chgData name="Muffoletto, Jamie" userId="daf1e3c6-8137-448a-b141-d23049d419b5" providerId="ADAL" clId="{E97620B1-112E-4491-92E5-69B7E2FBD184}" dt="2023-03-20T23:42:23.096" v="15" actId="478"/>
          <ac:spMkLst>
            <pc:docMk/>
            <pc:sldMk cId="4244882782" sldId="2145706165"/>
            <ac:spMk id="35" creationId="{7B6C8CD7-B19B-F8FF-4BD3-0479C18C2961}"/>
          </ac:spMkLst>
        </pc:spChg>
        <pc:spChg chg="del">
          <ac:chgData name="Muffoletto, Jamie" userId="daf1e3c6-8137-448a-b141-d23049d419b5" providerId="ADAL" clId="{E97620B1-112E-4491-92E5-69B7E2FBD184}" dt="2023-03-20T23:42:23.096" v="15" actId="478"/>
          <ac:spMkLst>
            <pc:docMk/>
            <pc:sldMk cId="4244882782" sldId="2145706165"/>
            <ac:spMk id="36" creationId="{147855DB-8069-5487-CF23-117F61F34C82}"/>
          </ac:spMkLst>
        </pc:spChg>
        <pc:spChg chg="del">
          <ac:chgData name="Muffoletto, Jamie" userId="daf1e3c6-8137-448a-b141-d23049d419b5" providerId="ADAL" clId="{E97620B1-112E-4491-92E5-69B7E2FBD184}" dt="2023-03-20T23:42:23.096" v="15" actId="478"/>
          <ac:spMkLst>
            <pc:docMk/>
            <pc:sldMk cId="4244882782" sldId="2145706165"/>
            <ac:spMk id="37" creationId="{20222424-0880-3755-17BC-E462E29145D5}"/>
          </ac:spMkLst>
        </pc:spChg>
        <pc:spChg chg="del">
          <ac:chgData name="Muffoletto, Jamie" userId="daf1e3c6-8137-448a-b141-d23049d419b5" providerId="ADAL" clId="{E97620B1-112E-4491-92E5-69B7E2FBD184}" dt="2023-03-20T23:42:23.096" v="15" actId="478"/>
          <ac:spMkLst>
            <pc:docMk/>
            <pc:sldMk cId="4244882782" sldId="2145706165"/>
            <ac:spMk id="38" creationId="{9634F940-98D4-6F33-0997-BEAF650381A0}"/>
          </ac:spMkLst>
        </pc:spChg>
        <pc:grpChg chg="del mod">
          <ac:chgData name="Muffoletto, Jamie" userId="daf1e3c6-8137-448a-b141-d23049d419b5" providerId="ADAL" clId="{E97620B1-112E-4491-92E5-69B7E2FBD184}" dt="2023-03-20T23:42:23.096" v="15" actId="478"/>
          <ac:grpSpMkLst>
            <pc:docMk/>
            <pc:sldMk cId="4244882782" sldId="2145706165"/>
            <ac:grpSpMk id="10" creationId="{F5D1D817-5F0C-8F90-ECBB-2054EB9A8895}"/>
          </ac:grpSpMkLst>
        </pc:grpChg>
        <pc:grpChg chg="del mod">
          <ac:chgData name="Muffoletto, Jamie" userId="daf1e3c6-8137-448a-b141-d23049d419b5" providerId="ADAL" clId="{E97620B1-112E-4491-92E5-69B7E2FBD184}" dt="2023-03-20T23:42:23.096" v="15" actId="478"/>
          <ac:grpSpMkLst>
            <pc:docMk/>
            <pc:sldMk cId="4244882782" sldId="2145706165"/>
            <ac:grpSpMk id="11" creationId="{7F9AC888-4301-0CF2-95CE-AB03352FEAAC}"/>
          </ac:grpSpMkLst>
        </pc:grpChg>
        <pc:grpChg chg="del mod">
          <ac:chgData name="Muffoletto, Jamie" userId="daf1e3c6-8137-448a-b141-d23049d419b5" providerId="ADAL" clId="{E97620B1-112E-4491-92E5-69B7E2FBD184}" dt="2023-03-20T23:42:23.096" v="15" actId="478"/>
          <ac:grpSpMkLst>
            <pc:docMk/>
            <pc:sldMk cId="4244882782" sldId="2145706165"/>
            <ac:grpSpMk id="14" creationId="{D07186B0-623D-41C1-7D8C-E210503BACCB}"/>
          </ac:grpSpMkLst>
        </pc:grpChg>
        <pc:grpChg chg="del">
          <ac:chgData name="Muffoletto, Jamie" userId="daf1e3c6-8137-448a-b141-d23049d419b5" providerId="ADAL" clId="{E97620B1-112E-4491-92E5-69B7E2FBD184}" dt="2023-03-20T23:42:23.096" v="15" actId="478"/>
          <ac:grpSpMkLst>
            <pc:docMk/>
            <pc:sldMk cId="4244882782" sldId="2145706165"/>
            <ac:grpSpMk id="20" creationId="{03563367-15A9-FEAB-254D-5B942EF4756D}"/>
          </ac:grpSpMkLst>
        </pc:grpChg>
        <pc:grpChg chg="del">
          <ac:chgData name="Muffoletto, Jamie" userId="daf1e3c6-8137-448a-b141-d23049d419b5" providerId="ADAL" clId="{E97620B1-112E-4491-92E5-69B7E2FBD184}" dt="2023-03-20T23:42:23.096" v="15" actId="478"/>
          <ac:grpSpMkLst>
            <pc:docMk/>
            <pc:sldMk cId="4244882782" sldId="2145706165"/>
            <ac:grpSpMk id="23" creationId="{1BC5356B-FF9B-985A-0F2C-7D288EB34FAC}"/>
          </ac:grpSpMkLst>
        </pc:grpChg>
        <pc:graphicFrameChg chg="del mod">
          <ac:chgData name="Muffoletto, Jamie" userId="daf1e3c6-8137-448a-b141-d23049d419b5" providerId="ADAL" clId="{E97620B1-112E-4491-92E5-69B7E2FBD184}" dt="2023-03-20T23:42:41.884" v="17" actId="478"/>
          <ac:graphicFrameMkLst>
            <pc:docMk/>
            <pc:sldMk cId="4244882782" sldId="2145706165"/>
            <ac:graphicFrameMk id="6" creationId="{C70CC638-D8B2-6D11-2FA2-21B08058A640}"/>
          </ac:graphicFrameMkLst>
        </pc:graphicFrameChg>
        <pc:picChg chg="add mod">
          <ac:chgData name="Muffoletto, Jamie" userId="daf1e3c6-8137-448a-b141-d23049d419b5" providerId="ADAL" clId="{E97620B1-112E-4491-92E5-69B7E2FBD184}" dt="2023-03-20T23:43:09.327" v="22" actId="962"/>
          <ac:picMkLst>
            <pc:docMk/>
            <pc:sldMk cId="4244882782" sldId="2145706165"/>
            <ac:picMk id="3" creationId="{D0409BAC-8223-F3C8-8D1F-5029DF24FC3C}"/>
          </ac:picMkLst>
        </pc:picChg>
      </pc:sldChg>
      <pc:sldChg chg="modSp mod">
        <pc:chgData name="Muffoletto, Jamie" userId="daf1e3c6-8137-448a-b141-d23049d419b5" providerId="ADAL" clId="{E97620B1-112E-4491-92E5-69B7E2FBD184}" dt="2023-03-21T00:14:43.658" v="115" actId="962"/>
        <pc:sldMkLst>
          <pc:docMk/>
          <pc:sldMk cId="3553546620" sldId="2145706680"/>
        </pc:sldMkLst>
        <pc:graphicFrameChg chg="ord">
          <ac:chgData name="Muffoletto, Jamie" userId="daf1e3c6-8137-448a-b141-d23049d419b5" providerId="ADAL" clId="{E97620B1-112E-4491-92E5-69B7E2FBD184}" dt="2023-03-21T00:12:03.530" v="99" actId="13244"/>
          <ac:graphicFrameMkLst>
            <pc:docMk/>
            <pc:sldMk cId="3553546620" sldId="2145706680"/>
            <ac:graphicFrameMk id="5" creationId="{6E83E82D-FBF0-463C-9B56-005C4138CF5F}"/>
          </ac:graphicFrameMkLst>
        </pc:graphicFrameChg>
        <pc:picChg chg="mod ord">
          <ac:chgData name="Muffoletto, Jamie" userId="daf1e3c6-8137-448a-b141-d23049d419b5" providerId="ADAL" clId="{E97620B1-112E-4491-92E5-69B7E2FBD184}" dt="2023-03-21T00:14:43.658" v="115" actId="962"/>
          <ac:picMkLst>
            <pc:docMk/>
            <pc:sldMk cId="3553546620" sldId="2145706680"/>
            <ac:picMk id="3" creationId="{CFC4F520-3EED-730F-B83B-BB365B73C4B8}"/>
          </ac:picMkLst>
        </pc:picChg>
      </pc:sldChg>
      <pc:sldChg chg="delSp modSp mod">
        <pc:chgData name="Muffoletto, Jamie" userId="daf1e3c6-8137-448a-b141-d23049d419b5" providerId="ADAL" clId="{E97620B1-112E-4491-92E5-69B7E2FBD184}" dt="2023-03-21T00:13:47.813" v="108" actId="962"/>
        <pc:sldMkLst>
          <pc:docMk/>
          <pc:sldMk cId="3232483779" sldId="2145706682"/>
        </pc:sldMkLst>
        <pc:spChg chg="ord">
          <ac:chgData name="Muffoletto, Jamie" userId="daf1e3c6-8137-448a-b141-d23049d419b5" providerId="ADAL" clId="{E97620B1-112E-4491-92E5-69B7E2FBD184}" dt="2023-03-21T00:04:54.853" v="64" actId="13244"/>
          <ac:spMkLst>
            <pc:docMk/>
            <pc:sldMk cId="3232483779" sldId="2145706682"/>
            <ac:spMk id="11" creationId="{36FDB9E0-139E-4A6C-B15D-D02B97A8BDE7}"/>
          </ac:spMkLst>
        </pc:spChg>
        <pc:picChg chg="mod ord">
          <ac:chgData name="Muffoletto, Jamie" userId="daf1e3c6-8137-448a-b141-d23049d419b5" providerId="ADAL" clId="{E97620B1-112E-4491-92E5-69B7E2FBD184}" dt="2023-03-21T00:13:33.171" v="106" actId="962"/>
          <ac:picMkLst>
            <pc:docMk/>
            <pc:sldMk cId="3232483779" sldId="2145706682"/>
            <ac:picMk id="14" creationId="{D41F0C2D-14FA-6DFD-F74C-D0B4C76BAB68}"/>
          </ac:picMkLst>
        </pc:picChg>
        <pc:picChg chg="mod ord">
          <ac:chgData name="Muffoletto, Jamie" userId="daf1e3c6-8137-448a-b141-d23049d419b5" providerId="ADAL" clId="{E97620B1-112E-4491-92E5-69B7E2FBD184}" dt="2023-03-21T00:13:41.242" v="107" actId="962"/>
          <ac:picMkLst>
            <pc:docMk/>
            <pc:sldMk cId="3232483779" sldId="2145706682"/>
            <ac:picMk id="16" creationId="{956F7716-EA4E-8E18-E896-CFDBFC5397A5}"/>
          </ac:picMkLst>
        </pc:picChg>
        <pc:picChg chg="mod ord">
          <ac:chgData name="Muffoletto, Jamie" userId="daf1e3c6-8137-448a-b141-d23049d419b5" providerId="ADAL" clId="{E97620B1-112E-4491-92E5-69B7E2FBD184}" dt="2023-03-21T00:13:47.813" v="108" actId="962"/>
          <ac:picMkLst>
            <pc:docMk/>
            <pc:sldMk cId="3232483779" sldId="2145706682"/>
            <ac:picMk id="18" creationId="{7288EC98-B6B7-6A59-2A89-99D4DE0768DC}"/>
          </ac:picMkLst>
        </pc:picChg>
        <pc:picChg chg="del">
          <ac:chgData name="Muffoletto, Jamie" userId="daf1e3c6-8137-448a-b141-d23049d419b5" providerId="ADAL" clId="{E97620B1-112E-4491-92E5-69B7E2FBD184}" dt="2023-03-21T00:06:18.412" v="69" actId="478"/>
          <ac:picMkLst>
            <pc:docMk/>
            <pc:sldMk cId="3232483779" sldId="2145706682"/>
            <ac:picMk id="19" creationId="{76E416AC-69B7-65D4-49FE-5E0405A6DEDD}"/>
          </ac:picMkLst>
        </pc:picChg>
      </pc:sldChg>
      <pc:sldChg chg="modSp mod">
        <pc:chgData name="Muffoletto, Jamie" userId="daf1e3c6-8137-448a-b141-d23049d419b5" providerId="ADAL" clId="{E97620B1-112E-4491-92E5-69B7E2FBD184}" dt="2023-03-21T00:14:24.262" v="112" actId="962"/>
        <pc:sldMkLst>
          <pc:docMk/>
          <pc:sldMk cId="809343629" sldId="2145706684"/>
        </pc:sldMkLst>
        <pc:spChg chg="ord">
          <ac:chgData name="Muffoletto, Jamie" userId="daf1e3c6-8137-448a-b141-d23049d419b5" providerId="ADAL" clId="{E97620B1-112E-4491-92E5-69B7E2FBD184}" dt="2023-03-21T00:07:14.516" v="73" actId="13244"/>
          <ac:spMkLst>
            <pc:docMk/>
            <pc:sldMk cId="809343629" sldId="2145706684"/>
            <ac:spMk id="3" creationId="{7F71BA92-FD01-7358-0C26-75BD872598DD}"/>
          </ac:spMkLst>
        </pc:spChg>
        <pc:spChg chg="ord">
          <ac:chgData name="Muffoletto, Jamie" userId="daf1e3c6-8137-448a-b141-d23049d419b5" providerId="ADAL" clId="{E97620B1-112E-4491-92E5-69B7E2FBD184}" dt="2023-03-21T00:07:32.053" v="74" actId="13244"/>
          <ac:spMkLst>
            <pc:docMk/>
            <pc:sldMk cId="809343629" sldId="2145706684"/>
            <ac:spMk id="13" creationId="{D8F08521-81EE-D310-7396-11D6057EF9C9}"/>
          </ac:spMkLst>
        </pc:spChg>
        <pc:picChg chg="mod">
          <ac:chgData name="Muffoletto, Jamie" userId="daf1e3c6-8137-448a-b141-d23049d419b5" providerId="ADAL" clId="{E97620B1-112E-4491-92E5-69B7E2FBD184}" dt="2023-03-21T00:14:24.262" v="112" actId="962"/>
          <ac:picMkLst>
            <pc:docMk/>
            <pc:sldMk cId="809343629" sldId="2145706684"/>
            <ac:picMk id="4" creationId="{34A78F25-9CBE-1694-F547-203E0D859D53}"/>
          </ac:picMkLst>
        </pc:picChg>
      </pc:sldChg>
      <pc:sldChg chg="modSp mod">
        <pc:chgData name="Muffoletto, Jamie" userId="daf1e3c6-8137-448a-b141-d23049d419b5" providerId="ADAL" clId="{E97620B1-112E-4491-92E5-69B7E2FBD184}" dt="2023-03-21T00:14:50.586" v="116" actId="962"/>
        <pc:sldMkLst>
          <pc:docMk/>
          <pc:sldMk cId="1931839774" sldId="2145706685"/>
        </pc:sldMkLst>
        <pc:spChg chg="ord">
          <ac:chgData name="Muffoletto, Jamie" userId="daf1e3c6-8137-448a-b141-d23049d419b5" providerId="ADAL" clId="{E97620B1-112E-4491-92E5-69B7E2FBD184}" dt="2023-03-21T00:12:21" v="101" actId="13244"/>
          <ac:spMkLst>
            <pc:docMk/>
            <pc:sldMk cId="1931839774" sldId="2145706685"/>
            <ac:spMk id="3" creationId="{604C85F6-FEED-3346-77DC-6D97C6261CC6}"/>
          </ac:spMkLst>
        </pc:spChg>
        <pc:spChg chg="ord">
          <ac:chgData name="Muffoletto, Jamie" userId="daf1e3c6-8137-448a-b141-d23049d419b5" providerId="ADAL" clId="{E97620B1-112E-4491-92E5-69B7E2FBD184}" dt="2023-03-21T00:12:38.643" v="103" actId="13244"/>
          <ac:spMkLst>
            <pc:docMk/>
            <pc:sldMk cId="1931839774" sldId="2145706685"/>
            <ac:spMk id="6" creationId="{984B6EC1-DE34-A203-EB96-A1BA5BC518BF}"/>
          </ac:spMkLst>
        </pc:spChg>
        <pc:spChg chg="mod">
          <ac:chgData name="Muffoletto, Jamie" userId="daf1e3c6-8137-448a-b141-d23049d419b5" providerId="ADAL" clId="{E97620B1-112E-4491-92E5-69B7E2FBD184}" dt="2023-03-20T23:43:25.610" v="23" actId="962"/>
          <ac:spMkLst>
            <pc:docMk/>
            <pc:sldMk cId="1931839774" sldId="2145706685"/>
            <ac:spMk id="7" creationId="{CF86FD88-3572-3AE2-C182-70625772D6C2}"/>
          </ac:spMkLst>
        </pc:spChg>
        <pc:spChg chg="mod ord">
          <ac:chgData name="Muffoletto, Jamie" userId="daf1e3c6-8137-448a-b141-d23049d419b5" providerId="ADAL" clId="{E97620B1-112E-4491-92E5-69B7E2FBD184}" dt="2023-03-21T00:12:50.739" v="104" actId="13244"/>
          <ac:spMkLst>
            <pc:docMk/>
            <pc:sldMk cId="1931839774" sldId="2145706685"/>
            <ac:spMk id="10" creationId="{12E501DD-6CEC-6781-0BD5-CA83EA37932E}"/>
          </ac:spMkLst>
        </pc:spChg>
        <pc:spChg chg="mod">
          <ac:chgData name="Muffoletto, Jamie" userId="daf1e3c6-8137-448a-b141-d23049d419b5" providerId="ADAL" clId="{E97620B1-112E-4491-92E5-69B7E2FBD184}" dt="2023-03-20T23:43:32.277" v="25" actId="962"/>
          <ac:spMkLst>
            <pc:docMk/>
            <pc:sldMk cId="1931839774" sldId="2145706685"/>
            <ac:spMk id="11" creationId="{83030AD2-259D-F53F-3B0E-2AF98EE740EA}"/>
          </ac:spMkLst>
        </pc:spChg>
        <pc:picChg chg="mod">
          <ac:chgData name="Muffoletto, Jamie" userId="daf1e3c6-8137-448a-b141-d23049d419b5" providerId="ADAL" clId="{E97620B1-112E-4491-92E5-69B7E2FBD184}" dt="2023-03-21T00:14:50.586" v="116" actId="962"/>
          <ac:picMkLst>
            <pc:docMk/>
            <pc:sldMk cId="1931839774" sldId="2145706685"/>
            <ac:picMk id="5" creationId="{6BF39B91-3A0A-2929-5DF0-5F22D2C1E9D7}"/>
          </ac:picMkLst>
        </pc:picChg>
        <pc:picChg chg="mod ord">
          <ac:chgData name="Muffoletto, Jamie" userId="daf1e3c6-8137-448a-b141-d23049d419b5" providerId="ADAL" clId="{E97620B1-112E-4491-92E5-69B7E2FBD184}" dt="2023-03-21T00:14:37.530" v="114" actId="962"/>
          <ac:picMkLst>
            <pc:docMk/>
            <pc:sldMk cId="1931839774" sldId="2145706685"/>
            <ac:picMk id="13" creationId="{944450FE-A766-AB42-3E16-AA3F0F1F6966}"/>
          </ac:picMkLst>
        </pc:picChg>
      </pc:sldChg>
      <pc:sldChg chg="modSp mod">
        <pc:chgData name="Muffoletto, Jamie" userId="daf1e3c6-8137-448a-b141-d23049d419b5" providerId="ADAL" clId="{E97620B1-112E-4491-92E5-69B7E2FBD184}" dt="2023-03-20T23:43:47.502" v="28" actId="962"/>
        <pc:sldMkLst>
          <pc:docMk/>
          <pc:sldMk cId="2944473109" sldId="2145707684"/>
        </pc:sldMkLst>
        <pc:graphicFrameChg chg="mod">
          <ac:chgData name="Muffoletto, Jamie" userId="daf1e3c6-8137-448a-b141-d23049d419b5" providerId="ADAL" clId="{E97620B1-112E-4491-92E5-69B7E2FBD184}" dt="2023-03-20T23:43:38.044" v="27" actId="962"/>
          <ac:graphicFrameMkLst>
            <pc:docMk/>
            <pc:sldMk cId="2944473109" sldId="2145707684"/>
            <ac:graphicFrameMk id="5" creationId="{DAB9B628-ADFB-8652-777B-BD4076FE39DC}"/>
          </ac:graphicFrameMkLst>
        </pc:graphicFrameChg>
        <pc:picChg chg="mod">
          <ac:chgData name="Muffoletto, Jamie" userId="daf1e3c6-8137-448a-b141-d23049d419b5" providerId="ADAL" clId="{E97620B1-112E-4491-92E5-69B7E2FBD184}" dt="2023-03-20T23:43:47.502" v="28" actId="962"/>
          <ac:picMkLst>
            <pc:docMk/>
            <pc:sldMk cId="2944473109" sldId="2145707684"/>
            <ac:picMk id="9" creationId="{6626F346-4C88-5779-7B47-7B418DFC3210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F646939-4925-4C47-B3D4-FCBF08D88DD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BEA144-1EA3-4457-8E8D-74112FEA754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88741B-0206-4660-98BF-C185264ED2CF}" type="datetimeFigureOut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492EE1-CF2F-4D3F-ADE6-279E6DD9283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47AA4B-61F7-48B8-8D3C-8720D20E62C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9146C9-C3A3-46F8-8466-4743D87932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743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0D5E38-04D7-4CC0-AF82-3E5D8CB519DD}" type="datetimeFigureOut">
              <a:rPr lang="en-US" smtClean="0"/>
              <a:t>3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4D9ABE-7AB9-4D3A-BEA5-45E799BD6C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1768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6" name="Google Shape;466;g7a1d893107_0_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7" name="Google Shape;467;g7a1d893107_0_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8" name="Google Shape;468;g7a1d893107_0_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D9ABE-7AB9-4D3A-BEA5-45E799BD6C0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6171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ypical length of summer – 12 weeks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D9ABE-7AB9-4D3A-BEA5-45E799BD6C0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605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ypical length of summer – 12 weeks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D9ABE-7AB9-4D3A-BEA5-45E799BD6C0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4552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ypical length of summer – 12 weeks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D9ABE-7AB9-4D3A-BEA5-45E799BD6C0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9589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" name="Google Shape;458;g7a1d893107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59" name="Google Shape;459;g7a1d893107_0_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0" name="Google Shape;460;g7a1d893107_0_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2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6FD7D95E-6B62-47ED-8187-0B1562D069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8" r="1178" b="24686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75964"/>
            <a:ext cx="5507665" cy="23896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494447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76" y="1285424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6602" y="1304642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ABE558-DBB8-C64A-B51B-A8140EAB3C3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51B1845-A6C7-4AC2-B620-167676934130}" type="datetime1">
              <a:rPr lang="en-US" smtClean="0"/>
              <a:t>3/20/2023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0B00A02-8675-4160-8176-EDCBB7DF4D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476" y="153230"/>
            <a:ext cx="10973642" cy="7513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888476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9519495-2D32-4D4E-8F3F-FCF9D9FBC5C2}"/>
              </a:ext>
            </a:extLst>
          </p:cNvPr>
          <p:cNvSpPr/>
          <p:nvPr userDrawn="1"/>
        </p:nvSpPr>
        <p:spPr>
          <a:xfrm>
            <a:off x="6316602" y="1285424"/>
            <a:ext cx="5269515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A19F0A-7B48-493C-B0E2-4453EB0E51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1251DB-602C-4641-BC89-F6C2134B9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35ED5-2481-43CA-B484-84F01BE7BCAB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EA3DCB-517D-4D4C-B87F-1B90D6908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15C024-99A2-414A-9E84-471B1D5347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E2E14A-B607-462F-AF55-A2C40E568568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D2AC0647-D236-4D87-99A7-66626B163A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F4CD0FD-24B2-4EB8-9EB2-2EE15DAD2E73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2D839CB-DBF3-46E9-B1EB-DA76E4CAE8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75" y="1285424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EDE6A2A-0CCE-4F58-B3CD-B767A786913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6602" y="1304642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95955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D5401-2B8D-4E62-9FB6-C631CC3E4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8B1E0B6-F5C0-4816-A4FE-AC6BE61FC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B68D5-5086-4373-9404-91C89D031447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441905-62F9-4943-8113-75BDA0125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2792EC-9876-42F6-B749-1AD876DE2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707F44-377B-41C7-BC2D-4996B3F40A9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2E7CC3FA-F1FE-4D55-921A-E5F8CC303A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52CDE914-26A2-46BF-B786-29CDEFF56F83}"/>
              </a:ext>
            </a:extLst>
          </p:cNvPr>
          <p:cNvGrpSpPr/>
          <p:nvPr userDrawn="1"/>
        </p:nvGrpSpPr>
        <p:grpSpPr>
          <a:xfrm>
            <a:off x="663269" y="2403028"/>
            <a:ext cx="10913380" cy="2038492"/>
            <a:chOff x="333375" y="2390134"/>
            <a:chExt cx="11439523" cy="203849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C2D51E0-0288-46B5-AE8E-53B44B6D62AF}"/>
                </a:ext>
              </a:extLst>
            </p:cNvPr>
            <p:cNvSpPr/>
            <p:nvPr userDrawn="1"/>
          </p:nvSpPr>
          <p:spPr>
            <a:xfrm>
              <a:off x="333375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9EAD7DC-28F3-4058-8BF9-9CCB5B38FD9F}"/>
                </a:ext>
              </a:extLst>
            </p:cNvPr>
            <p:cNvSpPr/>
            <p:nvPr userDrawn="1"/>
          </p:nvSpPr>
          <p:spPr>
            <a:xfrm>
              <a:off x="2643187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56FDF40-9136-4811-8E07-6B0AB0C46023}"/>
                </a:ext>
              </a:extLst>
            </p:cNvPr>
            <p:cNvSpPr/>
            <p:nvPr userDrawn="1"/>
          </p:nvSpPr>
          <p:spPr>
            <a:xfrm>
              <a:off x="4952999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719EA0-55BB-4503-BDA7-B64041373181}"/>
                </a:ext>
              </a:extLst>
            </p:cNvPr>
            <p:cNvSpPr/>
            <p:nvPr userDrawn="1"/>
          </p:nvSpPr>
          <p:spPr>
            <a:xfrm>
              <a:off x="7262811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F1B4587-442C-4C19-9102-6B375D1AE6CC}"/>
                </a:ext>
              </a:extLst>
            </p:cNvPr>
            <p:cNvSpPr/>
            <p:nvPr userDrawn="1"/>
          </p:nvSpPr>
          <p:spPr>
            <a:xfrm>
              <a:off x="9572623" y="3223291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610EEBE-DF4B-4657-A9ED-7CEED2CD42C0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428749" y="2390136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34ECB64-BDB2-4525-9A82-3F8E50C4AF7B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3736180" y="3681599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5E310C2-927E-4696-9D30-45A2F7D7A37E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6048373" y="2390135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E6C4E8C-06AF-499C-9A9B-759448E9F026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8336753" y="3681598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6938570-D807-4324-871B-DDDF5998AE7E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563224" y="2390134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9C791FF2-B5BD-4E56-B492-F87BD97E08A6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619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A66B1-38B5-4C87-96BA-DAE4850DD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938B8B-7CA6-4C10-8CB4-361CAF61F8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957E-7900-4B87-81CB-984FF3C74C4A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8F1B-89EA-4905-B352-8320B1105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A905E8-F69E-4262-B535-CD4DA56E4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118EE46-1E16-4835-B6B8-8C79AA037EA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 descr="A close up of a sign&#10;&#10;Description automatically generated">
            <a:extLst>
              <a:ext uri="{FF2B5EF4-FFF2-40B4-BE49-F238E27FC236}">
                <a16:creationId xmlns:a16="http://schemas.microsoft.com/office/drawing/2014/main" id="{53BF80DF-8F0C-46FA-B82A-59C923970F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961C567B-65AA-46AA-89E3-42CC6B462E22}"/>
              </a:ext>
            </a:extLst>
          </p:cNvPr>
          <p:cNvSpPr/>
          <p:nvPr userDrawn="1"/>
        </p:nvSpPr>
        <p:spPr>
          <a:xfrm>
            <a:off x="6619971" y="1260001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0A31A204-7316-4569-8F2B-7AC66C5A35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19971" y="1260001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8C3D0C8-4161-41B3-86DB-B24AD82509C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55695FD-5C94-4F47-84E1-2C0637C5D096}"/>
              </a:ext>
            </a:extLst>
          </p:cNvPr>
          <p:cNvSpPr/>
          <p:nvPr userDrawn="1"/>
        </p:nvSpPr>
        <p:spPr>
          <a:xfrm>
            <a:off x="612475" y="1260001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6DD64ACB-D732-45F1-B21B-19B1192457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475" y="1260001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3089159-ACBB-4B4F-9A5B-9BE3C718A26B}"/>
              </a:ext>
            </a:extLst>
          </p:cNvPr>
          <p:cNvSpPr/>
          <p:nvPr userDrawn="1"/>
        </p:nvSpPr>
        <p:spPr>
          <a:xfrm>
            <a:off x="6619971" y="3645410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87DEB579-3DE1-43EC-8F40-AA22690697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19971" y="3645410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8AA8C2A-FFAC-4EEB-A9C8-443AC7422034}"/>
              </a:ext>
            </a:extLst>
          </p:cNvPr>
          <p:cNvSpPr/>
          <p:nvPr userDrawn="1"/>
        </p:nvSpPr>
        <p:spPr>
          <a:xfrm>
            <a:off x="612475" y="3645410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38AA23CB-5CA2-46D7-96A2-380D3A4BAB9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2475" y="3645410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574268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30697B-5DD2-4D82-910C-A95C63D48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AFCB6B-D8B4-4142-98BB-27E212883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88BF4-DA46-495C-932E-DA28E9DC3812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A7A0E0-DF61-4449-A131-7A5AFB215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A04B79-6E78-4608-A987-7B436929E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867113-0346-4133-971E-2FA69106B086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CCABB91-9E8D-48A4-9D54-FAF1626653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437DBFE-B412-48BE-AF65-801B66957FE2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9217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66D2F3-544F-4F0E-8531-29BF9F3BB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CA3AB-E99D-46BD-BC3E-4F621A3811BD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7CB4D3-E7BC-4997-A9E3-8A55F18512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4230D4-FBDC-455E-BEBA-62F5CA1A8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9001B8-31F1-4A6D-B5AC-6902FC1CFCD2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C7617E6-FB51-4CDB-A2DB-103DD65AC4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3B269AE-F12A-4446-AB5C-3392E87A1731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6005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0C7F4B-F16F-4266-8C5D-7C00B98DA8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4F22DFD-E80A-48BE-BA41-D2F354629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A79F37-25BC-411B-899B-DC452FCB5673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5776FD-5499-4C8D-89EF-5F00371E1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018574-E76E-433F-A485-A06E18EF8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F9E2D255-4AA0-4DA6-89CA-0834E2DFCD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25614" y="1285422"/>
            <a:ext cx="9351033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lvl="0" indent="0"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  <a:p>
            <a:pPr lvl="1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/>
              <a:t>Second level</a:t>
            </a:r>
          </a:p>
          <a:p>
            <a:pPr lvl="2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lvl="3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  <a:p>
            <a:pPr lvl="4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08603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B86D1-2D9F-4630-9A54-7C515B331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C31998-2DCE-4A98-AB63-037D1DAF23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vert="horz" lIns="91440" tIns="45720" rIns="91440" bIns="45720" rtlCol="0" anchor="ctr"/>
          <a:lstStyle>
            <a:lvl1pPr>
              <a:defRPr lang="en-US" smtClean="0"/>
            </a:lvl1pPr>
          </a:lstStyle>
          <a:p>
            <a:fld id="{3FB71939-3604-4775-AABE-2BBD6D7D4C97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06D624-D105-4D25-A6C9-F71DEC2483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D1CAA7-650B-487B-A7FB-BDC9092031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57DDF72-EC76-4434-A08B-1A204B3C21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25611" y="1285424"/>
            <a:ext cx="9351035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32665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59CD3-1148-4660-AEBC-7C4C826DAA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B73A383-2B83-47F3-995E-EDEA23EDA3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25615" y="1285424"/>
            <a:ext cx="5348376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0C3DC10-8E04-481D-84B2-9AFDA48443A9}"/>
              </a:ext>
            </a:extLst>
          </p:cNvPr>
          <p:cNvSpPr/>
          <p:nvPr userDrawn="1"/>
        </p:nvSpPr>
        <p:spPr>
          <a:xfrm>
            <a:off x="7719237" y="1285424"/>
            <a:ext cx="3855730" cy="456156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B95BEA0-62D2-4165-A2C5-FD02BAFBF36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719237" y="1285424"/>
            <a:ext cx="3855730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30E2B71-C090-42F2-A041-83CF930880B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153011E-DA8A-4A83-8632-23C3DDA5F7B4}" type="datetime1">
              <a:rPr lang="en-US" smtClean="0"/>
              <a:t>3/20/2023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7A48DB7-256D-4C28-A977-F93F4134B20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DEE62A-2302-4E03-9ADC-32A70EDED6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9636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Placeholder 13">
            <a:extLst>
              <a:ext uri="{FF2B5EF4-FFF2-40B4-BE49-F238E27FC236}">
                <a16:creationId xmlns:a16="http://schemas.microsoft.com/office/drawing/2014/main" id="{068A0C29-B42F-479B-8BF0-65819649C4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/>
              <a:t>Click to add hea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C6F040-95A9-4A46-AB03-7F92799E5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058C4-0E35-431E-999C-694AD618ACD6}" type="datetime1">
              <a:rPr lang="en-US" smtClean="0"/>
              <a:t>3/2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7E68FA-9000-4D4A-9793-1421F0CB9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68F05-5855-411F-912D-61291D754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2442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walking on a bridge&#10;&#10;Description automatically generated">
            <a:extLst>
              <a:ext uri="{FF2B5EF4-FFF2-40B4-BE49-F238E27FC236}">
                <a16:creationId xmlns:a16="http://schemas.microsoft.com/office/drawing/2014/main" id="{45223C62-28C3-4635-9AE9-ABBD588FC7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8" b="4042"/>
          <a:stretch/>
        </p:blipFill>
        <p:spPr>
          <a:xfrm>
            <a:off x="0" y="0"/>
            <a:ext cx="12217429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6131612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39B8B1-989C-492F-8900-5A06C91C0A7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230FC28-7BEB-4759-BBA2-729E2C225A4A}" type="datetime1">
              <a:rPr lang="en-US" smtClean="0"/>
              <a:t>3/2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E6A169-9321-4D6D-BFDA-63A871AFE5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4BC196-E994-40AC-B5DC-6692E88E922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itle Placeholder 13">
            <a:extLst>
              <a:ext uri="{FF2B5EF4-FFF2-40B4-BE49-F238E27FC236}">
                <a16:creationId xmlns:a16="http://schemas.microsoft.com/office/drawing/2014/main" id="{B97CDDD7-5250-4E76-BC5E-C838F4DA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/>
              <a:t>Click to add head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74E102-04DC-40C0-BAB9-244B885AD68C}"/>
              </a:ext>
            </a:extLst>
          </p:cNvPr>
          <p:cNvSpPr/>
          <p:nvPr userDrawn="1"/>
        </p:nvSpPr>
        <p:spPr>
          <a:xfrm>
            <a:off x="7129290" y="1518086"/>
            <a:ext cx="44473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545BCE5C-8A8F-4B1F-B1B0-2D2DB27BEF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27748" y="1518086"/>
            <a:ext cx="4439093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0E5DBC6-9EC1-4884-9587-1170A41C7602}"/>
              </a:ext>
            </a:extLst>
          </p:cNvPr>
          <p:cNvSpPr/>
          <p:nvPr userDrawn="1"/>
        </p:nvSpPr>
        <p:spPr>
          <a:xfrm>
            <a:off x="2227156" y="1518086"/>
            <a:ext cx="44473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894C1613-5325-4C87-AA5B-F2F44A9781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25614" y="1518086"/>
            <a:ext cx="4439093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E33946A-1CF0-4369-8472-1B6383135F3E}"/>
              </a:ext>
            </a:extLst>
          </p:cNvPr>
          <p:cNvSpPr/>
          <p:nvPr userDrawn="1"/>
        </p:nvSpPr>
        <p:spPr>
          <a:xfrm>
            <a:off x="7129290" y="3903495"/>
            <a:ext cx="44473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F893FA83-8CE9-41D9-9686-7E2C0A18AB1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27748" y="3903495"/>
            <a:ext cx="4439093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2FDE8A9-850C-42A2-9B75-90655F4B3B07}"/>
              </a:ext>
            </a:extLst>
          </p:cNvPr>
          <p:cNvSpPr/>
          <p:nvPr userDrawn="1"/>
        </p:nvSpPr>
        <p:spPr>
          <a:xfrm>
            <a:off x="2227156" y="3903495"/>
            <a:ext cx="44473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1DEF6BC6-DFEF-4087-9A5C-9C97573CD7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25614" y="3903495"/>
            <a:ext cx="4439093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927641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3">
            <a:extLst>
              <a:ext uri="{FF2B5EF4-FFF2-40B4-BE49-F238E27FC236}">
                <a16:creationId xmlns:a16="http://schemas.microsoft.com/office/drawing/2014/main" id="{A234570C-19A5-4EE1-8C42-F2EDEA021B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/>
              <a:t>Click to add hea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700C37-A54E-4256-869C-20B15E19D9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31F8F-1192-4FD9-934F-56D826F38C8F}" type="datetime1">
              <a:rPr lang="en-US" smtClean="0"/>
              <a:t>3/2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04E379-532F-4EEB-A01A-E545DB166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425414-8EBD-4007-B23F-7AABCF145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4E4AE0B-8875-4708-8DFD-929737E287FA}"/>
              </a:ext>
            </a:extLst>
          </p:cNvPr>
          <p:cNvGrpSpPr/>
          <p:nvPr userDrawn="1"/>
        </p:nvGrpSpPr>
        <p:grpSpPr>
          <a:xfrm>
            <a:off x="2225616" y="2700701"/>
            <a:ext cx="9351034" cy="2038492"/>
            <a:chOff x="2484163" y="2390134"/>
            <a:chExt cx="9129711" cy="2038492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0FF75C6-1FF8-4587-B7E9-3C6F3BFF5EC6}"/>
                </a:ext>
              </a:extLst>
            </p:cNvPr>
            <p:cNvSpPr/>
            <p:nvPr userDrawn="1"/>
          </p:nvSpPr>
          <p:spPr>
            <a:xfrm>
              <a:off x="2484163" y="3223527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E9D5D21-66B9-4542-A342-B43218390DA9}"/>
                </a:ext>
              </a:extLst>
            </p:cNvPr>
            <p:cNvSpPr/>
            <p:nvPr userDrawn="1"/>
          </p:nvSpPr>
          <p:spPr>
            <a:xfrm>
              <a:off x="4793975" y="3223527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22315D4-1B86-4894-A3C6-35C9C89EB77F}"/>
                </a:ext>
              </a:extLst>
            </p:cNvPr>
            <p:cNvSpPr/>
            <p:nvPr userDrawn="1"/>
          </p:nvSpPr>
          <p:spPr>
            <a:xfrm>
              <a:off x="7103787" y="3223527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C9E2599-9DC0-4AA7-803E-9355108A005A}"/>
                </a:ext>
              </a:extLst>
            </p:cNvPr>
            <p:cNvSpPr/>
            <p:nvPr userDrawn="1"/>
          </p:nvSpPr>
          <p:spPr>
            <a:xfrm>
              <a:off x="9413599" y="3223291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10218BB1-D83A-4C33-887B-C187B9F0802C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3577156" y="3681599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2560B5B-2B53-439E-B939-F8D7426D634F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5889349" y="2390135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36A3F87D-0644-4319-8F73-4BCC0AC2A830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8177729" y="3681598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0F1B358-2BD8-44EA-9E7E-DB856131851D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404200" y="2390134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109968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20DF669-00B6-4829-9D26-96FE3AAAB73F}"/>
              </a:ext>
            </a:extLst>
          </p:cNvPr>
          <p:cNvSpPr/>
          <p:nvPr userDrawn="1"/>
        </p:nvSpPr>
        <p:spPr>
          <a:xfrm>
            <a:off x="0" y="164595"/>
            <a:ext cx="12192000" cy="603156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Placeholder 13">
            <a:extLst>
              <a:ext uri="{FF2B5EF4-FFF2-40B4-BE49-F238E27FC236}">
                <a16:creationId xmlns:a16="http://schemas.microsoft.com/office/drawing/2014/main" id="{94A1E1A4-4F6B-48AC-AEFD-19EA4859E9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/>
              <a:t>Click to add header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6A3DFF9F-C44C-4D3D-A214-F6A9D4B3B6CF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2225614" y="1285422"/>
            <a:ext cx="9351033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lvl="0" indent="0"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  <a:p>
            <a:pPr lvl="1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/>
              <a:t>Second level</a:t>
            </a:r>
          </a:p>
          <a:p>
            <a:pPr lvl="2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lvl="3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  <a:p>
            <a:pPr lvl="4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64BF3B7-1934-4ED2-B107-69C6E939C2A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394D12-572C-4960-9532-7BF3BA7C9816}" type="datetime1">
              <a:rPr lang="en-US" smtClean="0"/>
              <a:t>3/2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A0D5E2-FE07-4250-9351-ECC25DE45F6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B60DC6-18F6-49A5-A622-2AB02140040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7742A0C4-CC6A-4570-B5DD-EEB76FEF2B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8410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7C66BCB-A76A-40D8-BC5D-AA9360225A5A}"/>
              </a:ext>
            </a:extLst>
          </p:cNvPr>
          <p:cNvSpPr/>
          <p:nvPr userDrawn="1"/>
        </p:nvSpPr>
        <p:spPr>
          <a:xfrm>
            <a:off x="0" y="164595"/>
            <a:ext cx="12192000" cy="603156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3">
            <a:extLst>
              <a:ext uri="{FF2B5EF4-FFF2-40B4-BE49-F238E27FC236}">
                <a16:creationId xmlns:a16="http://schemas.microsoft.com/office/drawing/2014/main" id="{43C58213-12AB-47DA-93C0-B85DA99F2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/>
              <a:t>Click to add header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8593610-B9DD-4CB0-903B-1508574FBE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25615" y="1285424"/>
            <a:ext cx="5348376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8139BB0-5A1B-493B-9D55-5F50920714B5}"/>
              </a:ext>
            </a:extLst>
          </p:cNvPr>
          <p:cNvSpPr/>
          <p:nvPr userDrawn="1"/>
        </p:nvSpPr>
        <p:spPr>
          <a:xfrm>
            <a:off x="7719237" y="1285424"/>
            <a:ext cx="3855730" cy="456156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E3D3994-6CF4-453E-8165-E8806D6A90D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719237" y="1285424"/>
            <a:ext cx="3855730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304ADB-2DB9-4134-9A9C-5D577E92CDC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7E9E7D4-575A-45A5-B7AF-E1BA8DF0C110}" type="datetime1">
              <a:rPr lang="en-US" smtClean="0"/>
              <a:t>3/2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F671C2-84FC-4809-A4F6-8E554CF8CCB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E99DB8-D004-48DC-A541-51663904C8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id="{3C6FE239-44CD-4807-8743-CBD359CCD0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7995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6A2C997-A56C-4B0D-8B6F-402616E7EDEA}"/>
              </a:ext>
            </a:extLst>
          </p:cNvPr>
          <p:cNvSpPr/>
          <p:nvPr userDrawn="1"/>
        </p:nvSpPr>
        <p:spPr>
          <a:xfrm>
            <a:off x="0" y="164595"/>
            <a:ext cx="12192000" cy="603156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1A9A4A1-CF97-4A22-BCE1-C0AD6B763DD8}"/>
              </a:ext>
            </a:extLst>
          </p:cNvPr>
          <p:cNvGrpSpPr/>
          <p:nvPr userDrawn="1"/>
        </p:nvGrpSpPr>
        <p:grpSpPr>
          <a:xfrm>
            <a:off x="2225616" y="2700701"/>
            <a:ext cx="9351034" cy="2038492"/>
            <a:chOff x="2484163" y="2390134"/>
            <a:chExt cx="9129711" cy="203849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C630556-1203-444D-9406-8EE318B5B62D}"/>
                </a:ext>
              </a:extLst>
            </p:cNvPr>
            <p:cNvSpPr/>
            <p:nvPr userDrawn="1"/>
          </p:nvSpPr>
          <p:spPr>
            <a:xfrm>
              <a:off x="2484163" y="3223527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15910CA-54F1-4812-905F-477F1B94A069}"/>
                </a:ext>
              </a:extLst>
            </p:cNvPr>
            <p:cNvSpPr/>
            <p:nvPr userDrawn="1"/>
          </p:nvSpPr>
          <p:spPr>
            <a:xfrm>
              <a:off x="4793975" y="3223527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12D5BA-B9DC-4C3A-8F29-0221C1A88107}"/>
                </a:ext>
              </a:extLst>
            </p:cNvPr>
            <p:cNvSpPr/>
            <p:nvPr userDrawn="1"/>
          </p:nvSpPr>
          <p:spPr>
            <a:xfrm>
              <a:off x="7103787" y="3223527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DFE10E2-8D3B-4767-B6E0-27F1C0B4C047}"/>
                </a:ext>
              </a:extLst>
            </p:cNvPr>
            <p:cNvSpPr/>
            <p:nvPr userDrawn="1"/>
          </p:nvSpPr>
          <p:spPr>
            <a:xfrm>
              <a:off x="9413599" y="3223291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2E6F3C4-95C1-49A1-8C1A-8B07DC3E6F2A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3577156" y="3681599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E8C7092-4FAF-491B-95F5-3A72870FA8DD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5889349" y="2390135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3C78854-7097-4280-ABBA-C6320921F609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8177729" y="3681598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0C4280E-0FDC-4BFA-9394-244BF06A903F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404200" y="2390134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itle Placeholder 13">
            <a:extLst>
              <a:ext uri="{FF2B5EF4-FFF2-40B4-BE49-F238E27FC236}">
                <a16:creationId xmlns:a16="http://schemas.microsoft.com/office/drawing/2014/main" id="{F1E2C7E7-00FA-48AC-9492-4288BE8671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/>
              <a:t>Click to add hea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8F6BC1-2AFB-418D-91CB-F80EF23BA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2798D-009B-4592-8348-51BCF84E00CC}" type="datetime1">
              <a:rPr lang="en-US" smtClean="0"/>
              <a:t>3/2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9E099C-6380-4717-9EF6-E7016DB92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F30725-0586-4356-8633-ABC80F324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A1247AA4-0065-4A28-9376-D77A50366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8193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AC736427-21D5-4A42-B7B9-AF93FC53E607}"/>
              </a:ext>
            </a:extLst>
          </p:cNvPr>
          <p:cNvSpPr/>
          <p:nvPr userDrawn="1"/>
        </p:nvSpPr>
        <p:spPr>
          <a:xfrm>
            <a:off x="0" y="164595"/>
            <a:ext cx="12192000" cy="603156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Placeholder 13">
            <a:extLst>
              <a:ext uri="{FF2B5EF4-FFF2-40B4-BE49-F238E27FC236}">
                <a16:creationId xmlns:a16="http://schemas.microsoft.com/office/drawing/2014/main" id="{49C418EA-0250-4515-8248-6D01932316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/>
              <a:t>Click to add hea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742155-CBD3-4895-9268-1772CF41CD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310431-7F52-4D02-A07D-AC29917033A5}" type="datetime1">
              <a:rPr lang="en-US" smtClean="0"/>
              <a:t>3/2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409896-6F6E-4A32-9A3D-F162094EF8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F7A88C-24E6-45D5-85B0-18D18AC43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152AE17E-0E01-4377-8309-07E3675B49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2836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FD6C3F4-C7B6-4613-8B33-6EBE2B01DE7B}"/>
              </a:ext>
            </a:extLst>
          </p:cNvPr>
          <p:cNvSpPr/>
          <p:nvPr userDrawn="1"/>
        </p:nvSpPr>
        <p:spPr>
          <a:xfrm>
            <a:off x="0" y="164595"/>
            <a:ext cx="12192000" cy="603156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10F5092-1527-9B43-8ADE-35FC8A3822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326237C-3688-4C76-9028-257017D8A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930CF-C902-4FEA-A57D-8ADC6BDA9266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FD787F-2A1D-467E-98BE-D08F35306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34679B-95E2-4402-B183-124608B88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4428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6FD7D95E-6B62-47ED-8187-0B1562D069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8" r="1178" b="24686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75964"/>
            <a:ext cx="5507665" cy="23896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9941127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walking on a bridge&#10;&#10;Description automatically generated">
            <a:extLst>
              <a:ext uri="{FF2B5EF4-FFF2-40B4-BE49-F238E27FC236}">
                <a16:creationId xmlns:a16="http://schemas.microsoft.com/office/drawing/2014/main" id="{45223C62-28C3-4635-9AE9-ABBD588FC7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8" b="4042"/>
          <a:stretch/>
        </p:blipFill>
        <p:spPr>
          <a:xfrm>
            <a:off x="0" y="0"/>
            <a:ext cx="12217429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6031368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id="{8132F563-1018-4BBA-84AD-7D43004AA5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11325" r="3165" b="2551"/>
          <a:stretch/>
        </p:blipFill>
        <p:spPr>
          <a:xfrm>
            <a:off x="426" y="0"/>
            <a:ext cx="1219157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673038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id="{8132F563-1018-4BBA-84AD-7D43004AA5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11325" r="3165" b="2551"/>
          <a:stretch/>
        </p:blipFill>
        <p:spPr>
          <a:xfrm>
            <a:off x="426" y="0"/>
            <a:ext cx="1219157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8543116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computer&#10;&#10;Description automatically generated">
            <a:extLst>
              <a:ext uri="{FF2B5EF4-FFF2-40B4-BE49-F238E27FC236}">
                <a16:creationId xmlns:a16="http://schemas.microsoft.com/office/drawing/2014/main" id="{70A31480-C32A-4BB8-B0DF-C99B27B66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2" r="-22" b="20417"/>
          <a:stretch/>
        </p:blipFill>
        <p:spPr>
          <a:xfrm>
            <a:off x="0" y="1"/>
            <a:ext cx="1221742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4651022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room&#10;&#10;Description automatically generated">
            <a:extLst>
              <a:ext uri="{FF2B5EF4-FFF2-40B4-BE49-F238E27FC236}">
                <a16:creationId xmlns:a16="http://schemas.microsoft.com/office/drawing/2014/main" id="{1B9DEDDA-7B58-4520-A950-B49ECEF3E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23292" r="9940" b="12674"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1734584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child, indoor, wall&#10;&#10;Description automatically generated">
            <a:extLst>
              <a:ext uri="{FF2B5EF4-FFF2-40B4-BE49-F238E27FC236}">
                <a16:creationId xmlns:a16="http://schemas.microsoft.com/office/drawing/2014/main" id="{454B729E-4078-4961-AA28-F71FC702E4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" t="7435" r="-42" b="17542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7475490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3D73650-076F-4A3A-8B1D-4BC037C27D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1" r="1406" b="14039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3B70881-8656-4BB6-8BFF-D70457AE11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4193962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ook, indoor, laptop, shelf&#10;&#10;Description automatically generated">
            <a:extLst>
              <a:ext uri="{FF2B5EF4-FFF2-40B4-BE49-F238E27FC236}">
                <a16:creationId xmlns:a16="http://schemas.microsoft.com/office/drawing/2014/main" id="{E38AE18D-74B8-4D84-8A53-A0113DBFDB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4" t="6395" r="104" b="3783"/>
          <a:stretch/>
        </p:blipFill>
        <p:spPr>
          <a:xfrm>
            <a:off x="0" y="1"/>
            <a:ext cx="12192000" cy="68984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4C4FF54-00AB-4914-93FE-CE504BF35C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9532238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01E957-8227-4FB4-854D-47CEE49B5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47DF15-1D1D-4EDB-8D45-138FEFADB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8F399-C008-4519-B0D6-442656B26B09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BC586-8EB1-42ED-8612-0C49942A83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869D2D-0F63-442A-A0D5-172409C97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C897706E-9B3C-4955-969A-F8A606152C91}"/>
              </a:ext>
            </a:extLst>
          </p:cNvPr>
          <p:cNvSpPr txBox="1">
            <a:spLocks/>
          </p:cNvSpPr>
          <p:nvPr userDrawn="1"/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3/20/2023</a:t>
            </a:fld>
            <a:endParaRPr lang="en-US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F7CF3BB-E1A6-4C10-8804-55C06CD9E934}"/>
              </a:ext>
            </a:extLst>
          </p:cNvPr>
          <p:cNvSpPr txBox="1">
            <a:spLocks/>
          </p:cNvSpPr>
          <p:nvPr userDrawn="1"/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B44AC58-A611-4F4F-A36B-F845B700FB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75" y="1285424"/>
            <a:ext cx="10973641" cy="45615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2A9542D-A560-41C6-B599-C9128B8E6C40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6CDEADE-4711-45ED-AFFC-AFAEF595E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D143342-BDA6-4E84-8EC9-751AC1F3FFF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63290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76" y="1285424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6602" y="1304642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ABE558-DBB8-C64A-B51B-A8140EAB3C3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51B1845-A6C7-4AC2-B620-167676934130}" type="datetime1">
              <a:rPr lang="en-US" smtClean="0"/>
              <a:t>3/20/2023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0B00A02-8675-4160-8176-EDCBB7DF4D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476" y="153230"/>
            <a:ext cx="10973642" cy="7513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1050607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9519495-2D32-4D4E-8F3F-FCF9D9FBC5C2}"/>
              </a:ext>
            </a:extLst>
          </p:cNvPr>
          <p:cNvSpPr/>
          <p:nvPr userDrawn="1"/>
        </p:nvSpPr>
        <p:spPr>
          <a:xfrm>
            <a:off x="6316602" y="1285424"/>
            <a:ext cx="5269515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A19F0A-7B48-493C-B0E2-4453EB0E51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1251DB-602C-4641-BC89-F6C2134B9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35ED5-2481-43CA-B484-84F01BE7BCAB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EA3DCB-517D-4D4C-B87F-1B90D6908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15C024-99A2-414A-9E84-471B1D5347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E2E14A-B607-462F-AF55-A2C40E568568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D2AC0647-D236-4D87-99A7-66626B163A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F4CD0FD-24B2-4EB8-9EB2-2EE15DAD2E73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2D839CB-DBF3-46E9-B1EB-DA76E4CAE8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75" y="1285424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EDE6A2A-0CCE-4F58-B3CD-B767A786913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6602" y="1304642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21822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D5401-2B8D-4E62-9FB6-C631CC3E4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8B1E0B6-F5C0-4816-A4FE-AC6BE61FC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B68D5-5086-4373-9404-91C89D031447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441905-62F9-4943-8113-75BDA0125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2792EC-9876-42F6-B749-1AD876DE2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707F44-377B-41C7-BC2D-4996B3F40A9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2E7CC3FA-F1FE-4D55-921A-E5F8CC303A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52CDE914-26A2-46BF-B786-29CDEFF56F83}"/>
              </a:ext>
            </a:extLst>
          </p:cNvPr>
          <p:cNvGrpSpPr/>
          <p:nvPr userDrawn="1"/>
        </p:nvGrpSpPr>
        <p:grpSpPr>
          <a:xfrm>
            <a:off x="663269" y="2403028"/>
            <a:ext cx="10913380" cy="2038492"/>
            <a:chOff x="333375" y="2390134"/>
            <a:chExt cx="11439523" cy="203849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C2D51E0-0288-46B5-AE8E-53B44B6D62AF}"/>
                </a:ext>
              </a:extLst>
            </p:cNvPr>
            <p:cNvSpPr/>
            <p:nvPr userDrawn="1"/>
          </p:nvSpPr>
          <p:spPr>
            <a:xfrm>
              <a:off x="333375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9EAD7DC-28F3-4058-8BF9-9CCB5B38FD9F}"/>
                </a:ext>
              </a:extLst>
            </p:cNvPr>
            <p:cNvSpPr/>
            <p:nvPr userDrawn="1"/>
          </p:nvSpPr>
          <p:spPr>
            <a:xfrm>
              <a:off x="2643187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56FDF40-9136-4811-8E07-6B0AB0C46023}"/>
                </a:ext>
              </a:extLst>
            </p:cNvPr>
            <p:cNvSpPr/>
            <p:nvPr userDrawn="1"/>
          </p:nvSpPr>
          <p:spPr>
            <a:xfrm>
              <a:off x="4952999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719EA0-55BB-4503-BDA7-B64041373181}"/>
                </a:ext>
              </a:extLst>
            </p:cNvPr>
            <p:cNvSpPr/>
            <p:nvPr userDrawn="1"/>
          </p:nvSpPr>
          <p:spPr>
            <a:xfrm>
              <a:off x="7262811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F1B4587-442C-4C19-9102-6B375D1AE6CC}"/>
                </a:ext>
              </a:extLst>
            </p:cNvPr>
            <p:cNvSpPr/>
            <p:nvPr userDrawn="1"/>
          </p:nvSpPr>
          <p:spPr>
            <a:xfrm>
              <a:off x="9572623" y="3223291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610EEBE-DF4B-4657-A9ED-7CEED2CD42C0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428749" y="2390136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34ECB64-BDB2-4525-9A82-3F8E50C4AF7B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3736180" y="3681599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5E310C2-927E-4696-9D30-45A2F7D7A37E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6048373" y="2390135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E6C4E8C-06AF-499C-9A9B-759448E9F026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8336753" y="3681598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6938570-D807-4324-871B-DDDF5998AE7E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563224" y="2390134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9C791FF2-B5BD-4E56-B492-F87BD97E08A6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8419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A66B1-38B5-4C87-96BA-DAE4850DD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938B8B-7CA6-4C10-8CB4-361CAF61F8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957E-7900-4B87-81CB-984FF3C74C4A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8F1B-89EA-4905-B352-8320B1105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A905E8-F69E-4262-B535-CD4DA56E4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118EE46-1E16-4835-B6B8-8C79AA037EA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 descr="A close up of a sign&#10;&#10;Description automatically generated">
            <a:extLst>
              <a:ext uri="{FF2B5EF4-FFF2-40B4-BE49-F238E27FC236}">
                <a16:creationId xmlns:a16="http://schemas.microsoft.com/office/drawing/2014/main" id="{53BF80DF-8F0C-46FA-B82A-59C923970F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961C567B-65AA-46AA-89E3-42CC6B462E22}"/>
              </a:ext>
            </a:extLst>
          </p:cNvPr>
          <p:cNvSpPr/>
          <p:nvPr userDrawn="1"/>
        </p:nvSpPr>
        <p:spPr>
          <a:xfrm>
            <a:off x="6619971" y="1260001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0A31A204-7316-4569-8F2B-7AC66C5A35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19971" y="1260001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8C3D0C8-4161-41B3-86DB-B24AD82509C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55695FD-5C94-4F47-84E1-2C0637C5D096}"/>
              </a:ext>
            </a:extLst>
          </p:cNvPr>
          <p:cNvSpPr/>
          <p:nvPr userDrawn="1"/>
        </p:nvSpPr>
        <p:spPr>
          <a:xfrm>
            <a:off x="612475" y="1260001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6DD64ACB-D732-45F1-B21B-19B1192457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475" y="1260001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3089159-ACBB-4B4F-9A5B-9BE3C718A26B}"/>
              </a:ext>
            </a:extLst>
          </p:cNvPr>
          <p:cNvSpPr/>
          <p:nvPr userDrawn="1"/>
        </p:nvSpPr>
        <p:spPr>
          <a:xfrm>
            <a:off x="6619971" y="3645410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87DEB579-3DE1-43EC-8F40-AA22690697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19971" y="3645410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8AA8C2A-FFAC-4EEB-A9C8-443AC7422034}"/>
              </a:ext>
            </a:extLst>
          </p:cNvPr>
          <p:cNvSpPr/>
          <p:nvPr userDrawn="1"/>
        </p:nvSpPr>
        <p:spPr>
          <a:xfrm>
            <a:off x="612475" y="3645410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38AA23CB-5CA2-46D7-96A2-380D3A4BAB9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2475" y="3645410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366629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computer&#10;&#10;Description automatically generated">
            <a:extLst>
              <a:ext uri="{FF2B5EF4-FFF2-40B4-BE49-F238E27FC236}">
                <a16:creationId xmlns:a16="http://schemas.microsoft.com/office/drawing/2014/main" id="{70A31480-C32A-4BB8-B0DF-C99B27B66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2" r="-22" b="20417"/>
          <a:stretch/>
        </p:blipFill>
        <p:spPr>
          <a:xfrm>
            <a:off x="0" y="1"/>
            <a:ext cx="1221742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8662714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30697B-5DD2-4D82-910C-A95C63D48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AFCB6B-D8B4-4142-98BB-27E212883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88BF4-DA46-495C-932E-DA28E9DC3812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A7A0E0-DF61-4449-A131-7A5AFB215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A04B79-6E78-4608-A987-7B436929E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867113-0346-4133-971E-2FA69106B086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CCABB91-9E8D-48A4-9D54-FAF1626653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437DBFE-B412-48BE-AF65-801B66957FE2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2518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66D2F3-544F-4F0E-8531-29BF9F3BB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CA3AB-E99D-46BD-BC3E-4F621A3811BD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7CB4D3-E7BC-4997-A9E3-8A55F18512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4230D4-FBDC-455E-BEBA-62F5CA1A8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9001B8-31F1-4A6D-B5AC-6902FC1CFCD2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C7617E6-FB51-4CDB-A2DB-103DD65AC4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3B269AE-F12A-4446-AB5C-3392E87A1731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5313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 (Format 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28799" y="185130"/>
            <a:ext cx="9939603" cy="962338"/>
          </a:xfrm>
        </p:spPr>
        <p:txBody>
          <a:bodyPr anchor="ctr">
            <a:normAutofit/>
          </a:bodyPr>
          <a:lstStyle>
            <a:lvl1pPr algn="l">
              <a:defRPr sz="38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9E267B3-F1CB-40B7-9DB6-9D76B539B5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433" y="6624083"/>
            <a:ext cx="474999" cy="233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4BA5782D-F5DB-42B5-B236-D3060AB95BB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0" y="6624083"/>
            <a:ext cx="11680555" cy="23391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None/>
              <a:defRPr sz="10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No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D88CEE8-FE3F-48AB-8188-5B658D0CD9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3838" y="287865"/>
            <a:ext cx="1391922" cy="695962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CC9B38-75A2-45DB-A418-ED0FE367F84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8912" y="1438586"/>
            <a:ext cx="11329490" cy="449668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</a:p>
          <a:p>
            <a:pPr lvl="2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315560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858441"/>
            <a:ext cx="9144000" cy="145565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ctr">
              <a:defRPr sz="42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800" b="1" spc="105" baseline="0">
                <a:solidFill>
                  <a:srgbClr val="44546A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84C7D1-DD04-4E00-B3C7-9B667770A5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765BDD-DA18-4C70-B660-6B61DCF860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408B75-36E3-4B43-AEFD-47BBB2E94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C39701-6458-4AD8-8629-6BBA59D689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3960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4" y="1881361"/>
            <a:ext cx="4937761" cy="4023359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Open Sans (Headings)"/>
              </a:defRPr>
            </a:lvl1pPr>
            <a:lvl2pPr>
              <a:defRPr>
                <a:latin typeface="Open Sans (Headings)"/>
              </a:defRPr>
            </a:lvl2pPr>
            <a:lvl3pPr>
              <a:defRPr>
                <a:latin typeface="Open Sans (Headings)"/>
              </a:defRPr>
            </a:lvl3pPr>
            <a:lvl4pPr>
              <a:defRPr baseline="0">
                <a:latin typeface="Open Sans (Headings)"/>
              </a:defRPr>
            </a:lvl4pPr>
            <a:lvl5pPr>
              <a:defRPr>
                <a:latin typeface="Open Sans (Headings)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r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61"/>
            <a:ext cx="4937760" cy="4023359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Open Sans (Headings)"/>
              </a:defRPr>
            </a:lvl1pPr>
            <a:lvl2pPr>
              <a:defRPr>
                <a:latin typeface="Open Sans (Headings)"/>
              </a:defRPr>
            </a:lvl2pPr>
            <a:lvl3pPr>
              <a:defRPr>
                <a:latin typeface="Open Sans (Headings)"/>
              </a:defRPr>
            </a:lvl3pPr>
            <a:lvl4pPr>
              <a:defRPr>
                <a:latin typeface="Open Sans (Headings)"/>
              </a:defRPr>
            </a:lvl4pPr>
            <a:lvl5pPr>
              <a:defRPr>
                <a:latin typeface="Open Sans (Headings)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r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CD24F32-6D48-4D7A-A9C3-CCBB588B7D6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7887B83-88BB-4E17-B474-9CC960BABB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A5B5C1D-7D45-46A0-80EA-62F1BC70666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7C9C14-6C67-413B-848D-868105270E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8117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201" y="1825627"/>
            <a:ext cx="10515599" cy="4302459"/>
          </a:xfrm>
        </p:spPr>
        <p:txBody>
          <a:bodyPr/>
          <a:lstStyle>
            <a:lvl1pPr>
              <a:defRPr b="1">
                <a:latin typeface="Open Sans Semibold" panose="020B0606030504020204"/>
              </a:defRPr>
            </a:lvl1pPr>
            <a:lvl2pPr marL="514350" indent="-17145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200150" indent="-17145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802CCF-F079-4C3F-876F-B12028A1B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4BBA6D-23CA-4153-9807-82B4B1671D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516C6-4687-47AA-9985-DA293C464E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D8ACAD-150D-4C2E-AEB4-41F5787622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7460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23863" y="1687515"/>
            <a:ext cx="11344275" cy="4181578"/>
          </a:xfrm>
        </p:spPr>
        <p:txBody>
          <a:bodyPr/>
          <a:lstStyle>
            <a:lvl1pPr marL="0" indent="0">
              <a:buNone/>
              <a:defRPr>
                <a:latin typeface="Open Sans" panose="020B0606030504020204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0CE8B3-E4CC-4CAF-92B6-DCE8DA8F67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192C20-D1A4-4523-B61D-558ACC7A8B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129037-438D-47FE-A994-931557FE1D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45167D-3095-4B67-8E95-C18C8AC108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1970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8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1" y="6062945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1" y="153230"/>
            <a:ext cx="11121657" cy="751350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51F148-FE22-5F4B-9656-B9FD0B31FA6D}"/>
              </a:ext>
            </a:extLst>
          </p:cNvPr>
          <p:cNvSpPr/>
          <p:nvPr userDrawn="1"/>
        </p:nvSpPr>
        <p:spPr>
          <a:xfrm>
            <a:off x="0" y="6502624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1D1E651-A636-ED44-8643-D87936B7D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4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E373F66-282B-C84A-9B7B-612F107B44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5F8C8BF-6574-484D-86BA-1C3D16D96EEE}" type="datetime1">
              <a:rPr lang="en-US" smtClean="0"/>
              <a:t>3/20/2023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3B3F59D-D4CA-7848-B38D-7675195178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9462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6FD7D95E-6B62-47ED-8187-0B1562D069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75964"/>
            <a:ext cx="5507665" cy="23896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6196493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walking on a bridge&#10;&#10;Description automatically generated">
            <a:extLst>
              <a:ext uri="{FF2B5EF4-FFF2-40B4-BE49-F238E27FC236}">
                <a16:creationId xmlns:a16="http://schemas.microsoft.com/office/drawing/2014/main" id="{45223C62-28C3-4635-9AE9-ABBD588FC7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17429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5505660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room&#10;&#10;Description automatically generated">
            <a:extLst>
              <a:ext uri="{FF2B5EF4-FFF2-40B4-BE49-F238E27FC236}">
                <a16:creationId xmlns:a16="http://schemas.microsoft.com/office/drawing/2014/main" id="{1B9DEDDA-7B58-4520-A950-B49ECEF3E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23292" r="9940" b="12674"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629726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id="{8132F563-1018-4BBA-84AD-7D43004AA59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6" y="0"/>
            <a:ext cx="1219157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5996400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computer&#10;&#10;Description automatically generated">
            <a:extLst>
              <a:ext uri="{FF2B5EF4-FFF2-40B4-BE49-F238E27FC236}">
                <a16:creationId xmlns:a16="http://schemas.microsoft.com/office/drawing/2014/main" id="{70A31480-C32A-4BB8-B0DF-C99B27B668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2"/>
          <a:stretch/>
        </p:blipFill>
        <p:spPr>
          <a:xfrm>
            <a:off x="0" y="1"/>
            <a:ext cx="1221742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0467146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room&#10;&#10;Description automatically generated">
            <a:extLst>
              <a:ext uri="{FF2B5EF4-FFF2-40B4-BE49-F238E27FC236}">
                <a16:creationId xmlns:a16="http://schemas.microsoft.com/office/drawing/2014/main" id="{1B9DEDDA-7B58-4520-A950-B49ECEF3EC1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295029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child, indoor, wall&#10;&#10;Description automatically generated">
            <a:extLst>
              <a:ext uri="{FF2B5EF4-FFF2-40B4-BE49-F238E27FC236}">
                <a16:creationId xmlns:a16="http://schemas.microsoft.com/office/drawing/2014/main" id="{454B729E-4078-4961-AA28-F71FC702E41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9462811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3D73650-076F-4A3A-8B1D-4BC037C27D8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5"/>
            <a:ext cx="2870789" cy="2351382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38291208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ook, indoor, laptop, shelf&#10;&#10;Description automatically generated">
            <a:extLst>
              <a:ext uri="{FF2B5EF4-FFF2-40B4-BE49-F238E27FC236}">
                <a16:creationId xmlns:a16="http://schemas.microsoft.com/office/drawing/2014/main" id="{E38AE18D-74B8-4D84-8A53-A0113DBFDB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"/>
          <a:stretch/>
        </p:blipFill>
        <p:spPr>
          <a:xfrm>
            <a:off x="0" y="1"/>
            <a:ext cx="12192000" cy="68984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4"/>
            <a:ext cx="2870789" cy="23923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2485767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F4DB6E-C9F9-D944-B663-9CB9DAF8722D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8E7FD1F-DB59-1F43-A0E9-971CABD56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1650F9ED-1E1E-254C-8D51-ADB94CF4D0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A58D1EA-CD4D-456F-A805-BAF4EA62AFF6}" type="datetime1">
              <a:rPr lang="en-US" smtClean="0"/>
              <a:t>3/20/2023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4FED095-2A60-7649-AE12-495DA5A57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65932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EBFA53-3D67-304C-8BAB-F461F2DE5244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08215F0-AC27-C64F-9348-60129EF430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0112C45B-F787-7C43-BB07-B214946426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9AC18C9-E070-430C-BD4C-08311E3E1F99}" type="datetime1">
              <a:rPr lang="en-US" smtClean="0"/>
              <a:t>3/20/2023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FB4E1D8-148E-BB46-8227-70333E5A73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3483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50417" y="1304642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ABE558-DBB8-C64A-B51B-A8140EAB3C38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32CFE30-B31C-4F37-95A0-A80DEF7B7179}" type="datetime1">
              <a:rPr lang="en-US" smtClean="0"/>
              <a:t>3/20/2023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3617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/>
        </p:nvSpPr>
        <p:spPr>
          <a:xfrm>
            <a:off x="6428096" y="1285424"/>
            <a:ext cx="5405941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8097" y="1285424"/>
            <a:ext cx="538362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4B5868-DFC4-1A43-8743-6E68BA4257B7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2ECF530-48E5-5848-B2E1-9BC081B0DF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496040E-53E8-4343-B8A6-5CD8977655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E3E6634-AC05-43FC-ABAC-EA3784AEB700}" type="datetime1">
              <a:rPr lang="en-US" smtClean="0"/>
              <a:t>3/20/2023</a:t>
            </a:fld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01EF5C9-4012-EE46-BB4E-52AD584C52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896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child, indoor, wall&#10;&#10;Description automatically generated">
            <a:extLst>
              <a:ext uri="{FF2B5EF4-FFF2-40B4-BE49-F238E27FC236}">
                <a16:creationId xmlns:a16="http://schemas.microsoft.com/office/drawing/2014/main" id="{454B729E-4078-4961-AA28-F71FC702E4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" t="7435" r="-42" b="17542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0520028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0729C3-ACF1-4E41-B822-FC5A03165595}"/>
              </a:ext>
            </a:extLst>
          </p:cNvPr>
          <p:cNvSpPr/>
          <p:nvPr/>
        </p:nvSpPr>
        <p:spPr>
          <a:xfrm>
            <a:off x="333375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/>
        </p:nvSpPr>
        <p:spPr>
          <a:xfrm>
            <a:off x="2643187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/>
        </p:nvSpPr>
        <p:spPr>
          <a:xfrm>
            <a:off x="4952999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/>
        </p:nvSpPr>
        <p:spPr>
          <a:xfrm>
            <a:off x="7262811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/>
        </p:nvSpPr>
        <p:spPr>
          <a:xfrm>
            <a:off x="9572623" y="3223291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6C6169-6835-4943-80F4-23BCECDD3F07}"/>
              </a:ext>
            </a:extLst>
          </p:cNvPr>
          <p:cNvCxnSpPr>
            <a:cxnSpLocks/>
          </p:cNvCxnSpPr>
          <p:nvPr/>
        </p:nvCxnSpPr>
        <p:spPr>
          <a:xfrm flipH="1" flipV="1">
            <a:off x="1428749" y="2390136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/>
        </p:nvCxnSpPr>
        <p:spPr>
          <a:xfrm flipH="1" flipV="1">
            <a:off x="3736180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/>
        </p:nvCxnSpPr>
        <p:spPr>
          <a:xfrm flipH="1" flipV="1">
            <a:off x="6048373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/>
        </p:nvCxnSpPr>
        <p:spPr>
          <a:xfrm flipH="1" flipV="1">
            <a:off x="8336753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/>
        </p:nvCxnSpPr>
        <p:spPr>
          <a:xfrm flipH="1" flipV="1">
            <a:off x="10563224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0DA5B326-4BC0-484C-8A52-EB4943337D62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4142F996-DE7C-3E47-BA8A-BBC00F96DD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974DC2DB-1F0B-0942-9E0D-4F8920E60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6A0218F-2F9B-4AB1-A566-9653F81B5301}" type="datetime1">
              <a:rPr lang="en-US" smtClean="0"/>
              <a:t>3/20/2023</a:t>
            </a:fld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B05FB37-2E5D-9D48-A9B7-C9217B4502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162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/>
        </p:nvSpPr>
        <p:spPr>
          <a:xfrm>
            <a:off x="712381" y="1239202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/>
        </p:nvSpPr>
        <p:spPr>
          <a:xfrm>
            <a:off x="712380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/>
        </p:nvSpPr>
        <p:spPr>
          <a:xfrm>
            <a:off x="6909500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/>
        </p:nvSpPr>
        <p:spPr>
          <a:xfrm>
            <a:off x="6941734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538" y="1286467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9537" y="3788533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6658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36051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60968C-3F33-C64B-A2A1-E1BACC190A76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07386F5-F54A-234D-AC30-C50F06D595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A01B6C27-68DF-A946-B076-AD57BBA02C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4FAAFC6-72CA-442D-A105-C36CCA5A667D}" type="datetime1">
              <a:rPr lang="en-US" smtClean="0"/>
              <a:t>3/20/2023</a:t>
            </a:fld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0949CC2-4815-9040-AE29-DA865A2CF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79651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51F148-FE22-5F4B-9656-B9FD0B31FA6D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1D1E651-A636-ED44-8643-D87936B7D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E373F66-282B-C84A-9B7B-612F107B44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E6DB719-9EC7-4892-909E-9C496F72B948}" type="datetime1">
              <a:rPr lang="en-US" smtClean="0"/>
              <a:t>3/20/2023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3B3F59D-D4CA-7848-B38D-7675195178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0950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19CEFC9-AAA7-49A4-8FDC-F89E6009086A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7C878DE-4C84-4F9E-B3A9-9F718A6DAF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B79DAE-CFAF-404D-BC10-36DC7525CF58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4EABCAA-819D-3348-9451-F8B72E04B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696E019A-A2E1-144B-A66D-D804B12991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2C4DFD9F-4443-4315-9D4B-F690ADD1720E}" type="datetime1">
              <a:rPr lang="en-US" smtClean="0"/>
              <a:t>3/20/2023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A4099B-DB89-0449-ADCC-A2078A708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2779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C9CA210-FEED-684B-A2A9-F54EDD7D2C65}"/>
              </a:ext>
            </a:extLst>
          </p:cNvPr>
          <p:cNvSpPr/>
          <p:nvPr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E9050-50FF-4330-8FD2-DAA2A68D4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707D5587-E7E9-4525-8001-F647C035136E}" type="datetime1">
              <a:rPr lang="en-US" smtClean="0"/>
              <a:t>3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930A1659-99D2-374C-97EA-2635D11528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90F83D7-4EC5-EE4E-83F7-C835C5446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249128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7BD0F88F-B66B-F745-BA33-0143C27E5F2D}"/>
              </a:ext>
            </a:extLst>
          </p:cNvPr>
          <p:cNvSpPr/>
          <p:nvPr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1143000" indent="-228600">
              <a:buClr>
                <a:schemeClr val="accent2"/>
              </a:buClr>
              <a:buSzPct val="75000"/>
              <a:buFont typeface="Courier New" panose="02070309020205020404" pitchFamily="49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FA6AE0-F5B6-6E49-8BB3-4004BFDD1F0B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F9FB4947-4D5F-954E-B552-4F263C8E98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B216ADA8-851B-4D86-A7D4-9334032100C8}" type="datetime1">
              <a:rPr lang="en-US" smtClean="0"/>
              <a:t>3/20/2023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D2FE67E8-1825-AB4D-A7FC-30A73E3B0E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498E68E3-D6C5-9245-99A9-607F1E2B05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17581892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6E93DA6-A186-9940-9961-AE9EAE17F18C}"/>
              </a:ext>
            </a:extLst>
          </p:cNvPr>
          <p:cNvSpPr/>
          <p:nvPr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2EAA20-EA13-F943-95AF-7156B689A8C1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49262BE9-D596-EE49-8507-B79D803EBB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B1872213-30C5-4FF1-8635-CCB463595830}" type="datetime1">
              <a:rPr lang="en-US" smtClean="0"/>
              <a:t>3/20/2023</a:t>
            </a:fld>
            <a:endParaRPr lang="en-US"/>
          </a:p>
        </p:txBody>
      </p:sp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910B0988-AF98-C545-A6AB-AD57B467B0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BD5D7554-A478-8645-A569-84934EC2D6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23026137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577DCAAF-B02B-B24A-8AB0-956BA9E81D63}"/>
              </a:ext>
            </a:extLst>
          </p:cNvPr>
          <p:cNvSpPr/>
          <p:nvPr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28DAB3-C658-FA4C-9183-4169F5C77E36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53DBDFD6-DCC5-FE4D-9B49-5F5722AB86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B80E010A-D21E-4030-97D7-3FC85203BA5B}" type="datetime1">
              <a:rPr lang="en-US" smtClean="0"/>
              <a:t>3/20/2023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8C24448D-6ADF-8442-A000-775910CD0D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1165CA6F-4364-244F-9ABF-4E81C4523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0425749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/>
        </p:nvSpPr>
        <p:spPr>
          <a:xfrm>
            <a:off x="2523919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/>
        </p:nvSpPr>
        <p:spPr>
          <a:xfrm>
            <a:off x="4833731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/>
        </p:nvSpPr>
        <p:spPr>
          <a:xfrm>
            <a:off x="714354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/>
        </p:nvSpPr>
        <p:spPr>
          <a:xfrm>
            <a:off x="9453355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/>
        </p:nvCxnSpPr>
        <p:spPr>
          <a:xfrm flipH="1" flipV="1">
            <a:off x="3616912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/>
        </p:nvCxnSpPr>
        <p:spPr>
          <a:xfrm flipH="1" flipV="1">
            <a:off x="5929105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/>
        </p:nvCxnSpPr>
        <p:spPr>
          <a:xfrm flipH="1" flipV="1">
            <a:off x="8217485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/>
        </p:nvCxnSpPr>
        <p:spPr>
          <a:xfrm flipH="1" flipV="1">
            <a:off x="10443956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9A2BD7F4-C9CD-5E45-8A88-B96A3E033E78}"/>
              </a:ext>
            </a:extLst>
          </p:cNvPr>
          <p:cNvSpPr/>
          <p:nvPr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B4592BA-DF80-CC4D-BC9D-88314565611D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C9F3F664-C802-7249-A764-71E581FA3D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19C63E02-CD3A-4B01-84D1-3ED9B6F7C9F8}" type="datetime1">
              <a:rPr lang="en-US" smtClean="0"/>
              <a:t>3/20/2023</a:t>
            </a:fld>
            <a:endParaRPr lang="en-US"/>
          </a:p>
        </p:txBody>
      </p:sp>
      <p:pic>
        <p:nvPicPr>
          <p:cNvPr id="34" name="Picture 33" descr="A close up of a sign&#10;&#10;Description automatically generated">
            <a:extLst>
              <a:ext uri="{FF2B5EF4-FFF2-40B4-BE49-F238E27FC236}">
                <a16:creationId xmlns:a16="http://schemas.microsoft.com/office/drawing/2014/main" id="{D467C9B8-BC4D-7F47-8AA0-AA2F4BE0A2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6D8DE5CC-1AD4-EE46-B391-85AE43951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62800863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FDDB49D4-8143-9B46-A2E3-F54C2E2C22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E45AD176-A492-564A-9120-30D5931E75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398E1B61-E6EB-48BD-96C7-AFA289D5E2AC}" type="datetime1">
              <a:rPr lang="en-US" smtClean="0"/>
              <a:t>3/20/2023</a:t>
            </a:fld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A2D2368-DB91-5641-B72D-CAD3B3692E26}"/>
              </a:ext>
            </a:extLst>
          </p:cNvPr>
          <p:cNvSpPr/>
          <p:nvPr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2FE50E5-E585-294D-8EA1-6FF47F94FAEF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24516B70-534E-B846-AFCE-7DEC40C1C0F1}"/>
              </a:ext>
            </a:extLst>
          </p:cNvPr>
          <p:cNvSpPr txBox="1">
            <a:spLocks/>
          </p:cNvSpPr>
          <p:nvPr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3/20/2023</a:t>
            </a:fld>
            <a:endParaRPr lang="en-US"/>
          </a:p>
        </p:txBody>
      </p:sp>
      <p:pic>
        <p:nvPicPr>
          <p:cNvPr id="31" name="Picture 30" descr="A close up of a sign&#10;&#10;Description automatically generated">
            <a:extLst>
              <a:ext uri="{FF2B5EF4-FFF2-40B4-BE49-F238E27FC236}">
                <a16:creationId xmlns:a16="http://schemas.microsoft.com/office/drawing/2014/main" id="{1D042591-5AE2-0747-992B-D891310041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6BF1E2C7-B4C7-9940-9534-D5A78B0DB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593326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3D73650-076F-4A3A-8B1D-4BC037C27D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1" r="1406" b="14039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3B70881-8656-4BB6-8BFF-D70457AE11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1667214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E9050-50FF-4330-8FD2-DAA2A68D4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797" y="6492875"/>
            <a:ext cx="2743200" cy="365125"/>
          </a:xfrm>
        </p:spPr>
        <p:txBody>
          <a:bodyPr/>
          <a:lstStyle/>
          <a:p>
            <a:fld id="{6BA4798D-BD2C-4612-B74E-5EC4AA34C4B5}" type="datetime1">
              <a:rPr lang="en-US" smtClean="0"/>
              <a:t>3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9448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17A0E8C-5BD7-4700-910D-186567B7387F}"/>
              </a:ext>
            </a:extLst>
          </p:cNvPr>
          <p:cNvSpPr/>
          <p:nvPr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1841" y="167275"/>
            <a:ext cx="9630770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9BB631-3C3A-404F-9486-4A9AD6558D7E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77C9D04E-46AF-E54D-9D39-9FEF716330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6F820586-F7C7-4AFC-AC1F-7491474EB89F}" type="datetime1">
              <a:rPr lang="en-US" smtClean="0"/>
              <a:t>3/20/2023</a:t>
            </a:fld>
            <a:endParaRPr lang="en-US"/>
          </a:p>
        </p:txBody>
      </p:sp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id="{DAF1344F-A4C1-B246-84D0-1D67018FF5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3775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30C87E2D-FAD5-4CD6-9B9E-DF4D175EE0DC}"/>
              </a:ext>
            </a:extLst>
          </p:cNvPr>
          <p:cNvSpPr/>
          <p:nvPr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E4F90356-E557-4622-94C2-A683DA8E87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797" y="6492875"/>
            <a:ext cx="2743200" cy="365125"/>
          </a:xfrm>
        </p:spPr>
        <p:txBody>
          <a:bodyPr/>
          <a:lstStyle/>
          <a:p>
            <a:fld id="{5AB49ACB-9375-4D1F-B006-DE10D961C07C}" type="datetime1">
              <a:rPr lang="en-US" smtClean="0"/>
              <a:t>3/20/2023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0119" y="153230"/>
            <a:ext cx="9513918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757E269-44EA-2844-9B22-F017403D625E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EB296D3-703D-C04F-9ED9-0F2A0F4651CC}"/>
              </a:ext>
            </a:extLst>
          </p:cNvPr>
          <p:cNvSpPr txBox="1">
            <a:spLocks/>
          </p:cNvSpPr>
          <p:nvPr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3/20/2023</a:t>
            </a:fld>
            <a:endParaRPr lang="en-US"/>
          </a:p>
        </p:txBody>
      </p: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4DF7DD12-0BD0-204E-A4BA-F2E71254F3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75976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8F225BF-6018-4E25-96E5-020EDE4E074B}"/>
              </a:ext>
            </a:extLst>
          </p:cNvPr>
          <p:cNvSpPr/>
          <p:nvPr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8408" y="164595"/>
            <a:ext cx="9919861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8F072F-C70B-384C-BB1F-23F1D691A60B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D7719160-ED60-8045-8675-2D2E522409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DDB2BBB7-37F2-44CE-9EE1-7B14A58AD8AF}" type="datetime1">
              <a:rPr lang="en-US" smtClean="0"/>
              <a:t>3/20/2023</a:t>
            </a:fld>
            <a:endParaRPr lang="en-US"/>
          </a:p>
        </p:txBody>
      </p:sp>
      <p:pic>
        <p:nvPicPr>
          <p:cNvPr id="21" name="Picture 20" descr="A close up of a sign&#10;&#10;Description automatically generated">
            <a:extLst>
              <a:ext uri="{FF2B5EF4-FFF2-40B4-BE49-F238E27FC236}">
                <a16:creationId xmlns:a16="http://schemas.microsoft.com/office/drawing/2014/main" id="{ECDAB876-A886-C54C-ACB6-BF7126E392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90910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1C02CBCA-AFCA-4598-B68B-76039CBECC82}"/>
              </a:ext>
            </a:extLst>
          </p:cNvPr>
          <p:cNvSpPr/>
          <p:nvPr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249" y="168668"/>
            <a:ext cx="9884676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/>
        </p:nvSpPr>
        <p:spPr>
          <a:xfrm>
            <a:off x="248416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/>
        </p:nvSpPr>
        <p:spPr>
          <a:xfrm>
            <a:off x="4793975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/>
        </p:nvSpPr>
        <p:spPr>
          <a:xfrm>
            <a:off x="7103787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/>
        </p:nvSpPr>
        <p:spPr>
          <a:xfrm>
            <a:off x="9413599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6C6169-6835-4943-80F4-23BCECDD3F07}"/>
              </a:ext>
            </a:extLst>
          </p:cNvPr>
          <p:cNvCxnSpPr>
            <a:cxnSpLocks/>
          </p:cNvCxnSpPr>
          <p:nvPr/>
        </p:nvCxnSpPr>
        <p:spPr>
          <a:xfrm flipH="1" flipV="1">
            <a:off x="1332717" y="2472427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/>
        </p:nvCxnSpPr>
        <p:spPr>
          <a:xfrm flipH="1" flipV="1">
            <a:off x="3577156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/>
        </p:nvCxnSpPr>
        <p:spPr>
          <a:xfrm flipH="1" flipV="1">
            <a:off x="5889349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/>
        </p:nvCxnSpPr>
        <p:spPr>
          <a:xfrm flipH="1" flipV="1">
            <a:off x="8177729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/>
        </p:nvCxnSpPr>
        <p:spPr>
          <a:xfrm flipH="1" flipV="1">
            <a:off x="10404200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11C78B-F852-454F-903B-A9ACC1E0058D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9562053-D36A-6A4C-81AC-15D58F021C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2C8152C9-D242-4875-B3E3-FBD92E1E1330}" type="datetime1">
              <a:rPr lang="en-US" smtClean="0"/>
              <a:t>3/20/2023</a:t>
            </a:fld>
            <a:endParaRPr lang="en-US"/>
          </a:p>
        </p:txBody>
      </p:sp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id="{F37422CB-060A-BE49-AEEC-D38C146ED0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31085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5F1119D-21B3-4E72-8273-39944FAB4016}"/>
              </a:ext>
            </a:extLst>
          </p:cNvPr>
          <p:cNvSpPr/>
          <p:nvPr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8857" y="164595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5B85CF5-636A-E440-B11A-092206235E22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C737E72E-CFE8-C948-A232-7E5E0DBB5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DEF2CB9D-54B2-460F-8DAD-BADB55398C76}" type="datetime1">
              <a:rPr lang="en-US" smtClean="0"/>
              <a:t>3/20/2023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9516DD73-EFAF-4D47-841B-1104248EF1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80016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FD6C3F4-C7B6-4613-8B33-6EBE2B01DE7B}"/>
              </a:ext>
            </a:extLst>
          </p:cNvPr>
          <p:cNvSpPr/>
          <p:nvPr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1" y="252702"/>
            <a:ext cx="9131780" cy="575136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B5F3F2-7038-D944-BB35-28CDB39B19DA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045A7A8-30EA-074D-AD8F-CCCE7D8D88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44E50530-608F-45FB-86FF-F1DD6FF52501}" type="datetime1">
              <a:rPr lang="en-US" smtClean="0"/>
              <a:t>3/20/2023</a:t>
            </a:fld>
            <a:endParaRPr lang="en-US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10F5092-1527-9B43-8ADE-35FC8A3822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90308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100093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D87E9-152C-46D9-8D3E-52624A6C292C}" type="datetime1">
              <a:rPr lang="en-US" smtClean="0"/>
              <a:t>3/2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Font typeface="Wingdings" pitchFamily="2" charset="2"/>
              <a:buChar char="§"/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479532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D598F-BD5A-4CCC-8902-3524A15422EA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23863" y="1687515"/>
            <a:ext cx="11344274" cy="4181578"/>
          </a:xfrm>
        </p:spPr>
        <p:txBody>
          <a:bodyPr/>
          <a:lstStyle>
            <a:lvl1pPr marL="0" indent="0">
              <a:buNone/>
              <a:defRPr>
                <a:latin typeface="Open Sans" panose="020B0606030504020204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6176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ook, indoor, laptop, shelf&#10;&#10;Description automatically generated">
            <a:extLst>
              <a:ext uri="{FF2B5EF4-FFF2-40B4-BE49-F238E27FC236}">
                <a16:creationId xmlns:a16="http://schemas.microsoft.com/office/drawing/2014/main" id="{E38AE18D-74B8-4D84-8A53-A0113DBFDB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4" t="6395" r="104" b="3783"/>
          <a:stretch/>
        </p:blipFill>
        <p:spPr>
          <a:xfrm>
            <a:off x="0" y="1"/>
            <a:ext cx="12192000" cy="68984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4C4FF54-00AB-4914-93FE-CE504BF35C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0694704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01E957-8227-4FB4-854D-47CEE49B5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47DF15-1D1D-4EDB-8D45-138FEFADB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8F399-C008-4519-B0D6-442656B26B09}" type="datetime1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BC586-8EB1-42ED-8612-0C49942A83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869D2D-0F63-442A-A0D5-172409C97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C897706E-9B3C-4955-969A-F8A606152C91}"/>
              </a:ext>
            </a:extLst>
          </p:cNvPr>
          <p:cNvSpPr txBox="1">
            <a:spLocks/>
          </p:cNvSpPr>
          <p:nvPr userDrawn="1"/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3/20/2023</a:t>
            </a:fld>
            <a:endParaRPr lang="en-US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F7CF3BB-E1A6-4C10-8804-55C06CD9E934}"/>
              </a:ext>
            </a:extLst>
          </p:cNvPr>
          <p:cNvSpPr txBox="1">
            <a:spLocks/>
          </p:cNvSpPr>
          <p:nvPr userDrawn="1"/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B44AC58-A611-4F4F-A36B-F845B700FB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75" y="1285424"/>
            <a:ext cx="10973641" cy="45615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2A9542D-A560-41C6-B599-C9128B8E6C40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6CDEADE-4711-45ED-AFFC-AFAEF595E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D143342-BDA6-4E84-8EC9-751AC1F3FFF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066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image" Target="../media/image1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75" y="153230"/>
            <a:ext cx="10964174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E72BE1-20FB-4C12-A004-6B617A098B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2474" y="1285424"/>
            <a:ext cx="10964173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C97D2B7-7E72-4531-A79B-84ACC09DB2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85F9E2-D9B2-4764-B4FC-E898000E2348}" type="datetime1">
              <a:rPr lang="en-US" smtClean="0"/>
              <a:t>3/20/2023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FDCB5BAF-9D9E-4C5F-AE37-8774C83E21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3430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3DE7BEB-A03C-4C8E-B7F2-286276E879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25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21" r:id="rId2"/>
    <p:sldLayoutId id="2147483742" r:id="rId3"/>
    <p:sldLayoutId id="2147483748" r:id="rId4"/>
    <p:sldLayoutId id="2147483746" r:id="rId5"/>
    <p:sldLayoutId id="2147483747" r:id="rId6"/>
    <p:sldLayoutId id="2147483744" r:id="rId7"/>
    <p:sldLayoutId id="2147483745" r:id="rId8"/>
    <p:sldLayoutId id="2147483774" r:id="rId9"/>
    <p:sldLayoutId id="2147483749" r:id="rId10"/>
    <p:sldLayoutId id="2147483772" r:id="rId11"/>
    <p:sldLayoutId id="2147483773" r:id="rId12"/>
    <p:sldLayoutId id="2147483775" r:id="rId13"/>
    <p:sldLayoutId id="2147483776" r:id="rId14"/>
    <p:sldLayoutId id="2147483777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Wingdings" panose="05000000000000000000" pitchFamily="2" charset="2"/>
        <a:buNone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EE07599-060C-4042-81B9-4CAF2CDEC6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25614" y="1285422"/>
            <a:ext cx="9351033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lvl="0" indent="0"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  <a:p>
            <a:pPr lvl="1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/>
              <a:t>Second level</a:t>
            </a:r>
          </a:p>
          <a:p>
            <a:pPr lvl="2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lvl="3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  <a:p>
            <a:pPr lvl="4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/>
              <a:t>Fifth level</a:t>
            </a:r>
          </a:p>
        </p:txBody>
      </p:sp>
      <p:sp>
        <p:nvSpPr>
          <p:cNvPr id="14" name="Title Placeholder 13">
            <a:extLst>
              <a:ext uri="{FF2B5EF4-FFF2-40B4-BE49-F238E27FC236}">
                <a16:creationId xmlns:a16="http://schemas.microsoft.com/office/drawing/2014/main" id="{D2D965D3-DFC1-47B2-A777-4ECD86709B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CE75E5B-587C-47B8-9DF0-0D4FB516C06E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59A29C-D739-4891-A09E-E4357327D8A5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655F36E7-2A05-46D3-A43E-05AC2115B6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2926" y="6529126"/>
            <a:ext cx="997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C3A48C-96BA-4AFF-8582-CCF42388BC64}" type="datetime1">
              <a:rPr lang="en-US" smtClean="0"/>
              <a:t>3/20/2023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4674F0C8-FE60-4ABD-9A4A-B8BD70AD655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EFBD47C-0247-4C52-A1FB-C6F054B5FD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3430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7A9FAA1-FB38-49AE-8480-236A11523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187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2" r:id="rId2"/>
    <p:sldLayoutId id="214748380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1" kern="1200" smtClean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2800" kern="120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800" kern="1200" smtClean="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800" kern="120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800" kern="1200" smtClean="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800" kern="1200" dirty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75" y="153230"/>
            <a:ext cx="10964174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E72BE1-20FB-4C12-A004-6B617A098B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2474" y="1285424"/>
            <a:ext cx="10964173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C97D2B7-7E72-4531-A79B-84ACC09DB2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85F9E2-D9B2-4764-B4FC-E898000E2348}" type="datetime1">
              <a:rPr lang="en-US" smtClean="0"/>
              <a:t>3/20/2023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FDCB5BAF-9D9E-4C5F-AE37-8774C83E21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3430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3DE7BEB-A03C-4C8E-B7F2-286276E879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231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60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Wingdings" panose="05000000000000000000" pitchFamily="2" charset="2"/>
        <a:buNone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Placeholder 1">
            <a:extLst>
              <a:ext uri="{FF2B5EF4-FFF2-40B4-BE49-F238E27FC236}">
                <a16:creationId xmlns:a16="http://schemas.microsoft.com/office/drawing/2014/main" id="{454A4CF6-1400-408E-85CA-7112B6E09A9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755775" y="244477"/>
            <a:ext cx="9598025" cy="709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8195" name="Text Placeholder 2">
            <a:extLst>
              <a:ext uri="{FF2B5EF4-FFF2-40B4-BE49-F238E27FC236}">
                <a16:creationId xmlns:a16="http://schemas.microsoft.com/office/drawing/2014/main" id="{A97FBFA2-F9D3-452E-B3EB-7F241379CF67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7F7EA2-8805-4D6B-8E11-196AFFCF1D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29390"/>
            <a:ext cx="2743200" cy="1920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99B96-6A65-4742-B3BF-A1BCB5BA3B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29390"/>
            <a:ext cx="4114800" cy="1920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66EB9-B97A-4F4F-AC28-88E275B913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29390"/>
            <a:ext cx="2743200" cy="1920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81F8BD8-D774-41E0-8FCB-7A55AE00C5C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887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7" r:id="rId5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 kern="1200">
          <a:solidFill>
            <a:srgbClr val="3C6EBE"/>
          </a:solidFill>
          <a:latin typeface="Open Sans Semibold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A6E2528-B88D-42A2-9CA7-F74DCCE93D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59005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25" imgH="424" progId="TCLayout.ActiveDocument.1">
                  <p:embed/>
                </p:oleObj>
              </mc:Choice>
              <mc:Fallback>
                <p:oleObj name="think-cell Slide" r:id="rId34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A6E2528-B88D-42A2-9CA7-F74DCCE93D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236F96-CFF5-43CD-9E03-D06E3B2A0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C28EB-BCA9-43F7-A9C9-9BC5A31B85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99961B56-0944-4ED4-B572-DAFDB0B8AE02}" type="datetime1">
              <a:rPr lang="en-US" smtClean="0"/>
              <a:t>3/20/20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7911F-0FB9-4538-A2CE-203712435F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953" y="104134"/>
            <a:ext cx="11164188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264387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  <p:sldLayoutId id="2147483845" r:id="rId17"/>
    <p:sldLayoutId id="2147483846" r:id="rId18"/>
    <p:sldLayoutId id="2147483847" r:id="rId19"/>
    <p:sldLayoutId id="2147483848" r:id="rId20"/>
    <p:sldLayoutId id="2147483849" r:id="rId21"/>
    <p:sldLayoutId id="2147483850" r:id="rId22"/>
    <p:sldLayoutId id="2147483851" r:id="rId23"/>
    <p:sldLayoutId id="2147483852" r:id="rId24"/>
    <p:sldLayoutId id="2147483853" r:id="rId25"/>
    <p:sldLayoutId id="2147483854" r:id="rId26"/>
    <p:sldLayoutId id="2147483855" r:id="rId27"/>
    <p:sldLayoutId id="2147483856" r:id="rId28"/>
    <p:sldLayoutId id="2147483857" r:id="rId29"/>
    <p:sldLayoutId id="2147483858" r:id="rId30"/>
    <p:sldLayoutId id="2147483859" r:id="rId3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Wingdings" panose="05000000000000000000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0.png"/><Relationship Id="rId4" Type="http://schemas.openxmlformats.org/officeDocument/2006/relationships/hyperlink" Target="http://bit.ly/garland-isd-calendar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aldine-isd-calendar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0.png"/><Relationship Id="rId4" Type="http://schemas.openxmlformats.org/officeDocument/2006/relationships/image" Target="../media/image4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7" Type="http://schemas.openxmlformats.org/officeDocument/2006/relationships/image" Target="../media/image55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57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Relationship Id="rId4" Type="http://schemas.openxmlformats.org/officeDocument/2006/relationships/hyperlink" Target="mailto:ADSY@tea.texas.gov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.xml"/><Relationship Id="rId5" Type="http://schemas.openxmlformats.org/officeDocument/2006/relationships/image" Target="../media/image65.png"/><Relationship Id="rId4" Type="http://schemas.openxmlformats.org/officeDocument/2006/relationships/image" Target="../media/image28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adsy@tea.texas.gov" TargetMode="External"/><Relationship Id="rId2" Type="http://schemas.openxmlformats.org/officeDocument/2006/relationships/hyperlink" Target="https://tea.texas.gov/adsy" TargetMode="Externa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0.xml"/><Relationship Id="rId1" Type="http://schemas.openxmlformats.org/officeDocument/2006/relationships/tags" Target="../tags/tag2.xml"/><Relationship Id="rId5" Type="http://schemas.openxmlformats.org/officeDocument/2006/relationships/image" Target="../media/image29.png"/><Relationship Id="rId4" Type="http://schemas.openxmlformats.org/officeDocument/2006/relationships/image" Target="../media/image2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2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5.sv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svg"/><Relationship Id="rId4" Type="http://schemas.openxmlformats.org/officeDocument/2006/relationships/image" Target="../media/image33.svg"/><Relationship Id="rId9" Type="http://schemas.openxmlformats.org/officeDocument/2006/relationships/image" Target="../media/image38.png"/><Relationship Id="rId14" Type="http://schemas.openxmlformats.org/officeDocument/2006/relationships/image" Target="../media/image4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snyder-summer-schedul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0.png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F73958-7063-422D-94A8-905776F88F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0819" y="3875964"/>
            <a:ext cx="8870861" cy="2389625"/>
          </a:xfrm>
        </p:spPr>
        <p:txBody>
          <a:bodyPr/>
          <a:lstStyle/>
          <a:p>
            <a:r>
              <a:rPr lang="en-US" dirty="0"/>
              <a:t>Additional Days School Year</a:t>
            </a: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r>
              <a:rPr lang="en-US" b="0" dirty="0"/>
              <a:t>March 21, 2023</a:t>
            </a:r>
          </a:p>
        </p:txBody>
      </p:sp>
    </p:spTree>
    <p:extLst>
      <p:ext uri="{BB962C8B-B14F-4D97-AF65-F5344CB8AC3E}">
        <p14:creationId xmlns:p14="http://schemas.microsoft.com/office/powerpoint/2010/main" val="10885319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DC4C1-3D7B-4831-AB65-B22E50EBD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sessional Calendar Examp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892D4D-4AF4-4219-A8E2-30B894F6B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10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F0206C-2146-4C51-916C-88DAC2327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7349" y="884970"/>
            <a:ext cx="3924302" cy="50880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C52D4F5-3288-4184-A999-520E6EB305C4}"/>
              </a:ext>
            </a:extLst>
          </p:cNvPr>
          <p:cNvSpPr/>
          <p:nvPr/>
        </p:nvSpPr>
        <p:spPr>
          <a:xfrm>
            <a:off x="6686550" y="904580"/>
            <a:ext cx="5076825" cy="49723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Garland ISD – 2021-2022 Calendar</a:t>
            </a:r>
          </a:p>
          <a:p>
            <a:pPr algn="ctr"/>
            <a:r>
              <a:rPr lang="en-US" i="1">
                <a:solidFill>
                  <a:schemeClr val="tx1"/>
                </a:solidFill>
              </a:rPr>
              <a:t>22 Additional Days through Intersessions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Start Date: </a:t>
            </a:r>
            <a:r>
              <a:rPr lang="en-US">
                <a:solidFill>
                  <a:schemeClr val="tx1"/>
                </a:solidFill>
              </a:rPr>
              <a:t>August 2, 2021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Intersessions:</a:t>
            </a:r>
          </a:p>
          <a:p>
            <a:r>
              <a:rPr lang="en-US">
                <a:solidFill>
                  <a:schemeClr val="tx1"/>
                </a:solidFill>
              </a:rPr>
              <a:t>9/27 – 10/1 – Fall Intersession</a:t>
            </a:r>
          </a:p>
          <a:p>
            <a:r>
              <a:rPr lang="en-US">
                <a:solidFill>
                  <a:schemeClr val="tx1"/>
                </a:solidFill>
              </a:rPr>
              <a:t>1/3 – 1/6 – Winter Intersession</a:t>
            </a:r>
          </a:p>
          <a:p>
            <a:r>
              <a:rPr lang="en-US">
                <a:solidFill>
                  <a:schemeClr val="tx1"/>
                </a:solidFill>
              </a:rPr>
              <a:t>3/7 – 3/11 – Spring Intersession</a:t>
            </a:r>
          </a:p>
          <a:p>
            <a:r>
              <a:rPr lang="en-US">
                <a:solidFill>
                  <a:schemeClr val="tx1"/>
                </a:solidFill>
              </a:rPr>
              <a:t>6/13 – 6/23 – Summer Intersession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End Date: </a:t>
            </a:r>
            <a:r>
              <a:rPr lang="en-US">
                <a:solidFill>
                  <a:schemeClr val="tx1"/>
                </a:solidFill>
              </a:rPr>
              <a:t>6/9/22 for all students, 6/23/22 for students in Summer Intersession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Length of Summer Break: </a:t>
            </a:r>
            <a:r>
              <a:rPr lang="en-US">
                <a:solidFill>
                  <a:schemeClr val="tx1"/>
                </a:solidFill>
              </a:rPr>
              <a:t>7 weeks for students in Summer Intersession, 9 weeks for others</a:t>
            </a:r>
          </a:p>
          <a:p>
            <a:endParaRPr lang="en-US">
              <a:solidFill>
                <a:schemeClr val="tx1"/>
              </a:solidFill>
            </a:endParaRPr>
          </a:p>
          <a:p>
            <a:pPr algn="ctr"/>
            <a:r>
              <a:rPr lang="en-US" b="1" i="1">
                <a:hlinkClick r:id="rId4"/>
              </a:rPr>
              <a:t>bit.ly/garland-</a:t>
            </a:r>
            <a:r>
              <a:rPr lang="en-US" b="1" i="1" err="1">
                <a:hlinkClick r:id="rId4"/>
              </a:rPr>
              <a:t>isd</a:t>
            </a:r>
            <a:r>
              <a:rPr lang="en-US" b="1" i="1">
                <a:hlinkClick r:id="rId4"/>
              </a:rPr>
              <a:t>-calendar</a:t>
            </a:r>
            <a:endParaRPr lang="en-US" b="1" i="1"/>
          </a:p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4" name="Picture 5">
            <a:extLst>
              <a:ext uri="{FF2B5EF4-FFF2-40B4-BE49-F238E27FC236}">
                <a16:creationId xmlns:a16="http://schemas.microsoft.com/office/drawing/2014/main" id="{1487A5D2-764E-408A-80DA-F84E577BF7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24893" y="52900"/>
            <a:ext cx="2267107" cy="116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375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DC4C1-3D7B-4831-AB65-B22E50EBD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ll Year Redesign Calendar Examp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892D4D-4AF4-4219-A8E2-30B894F6B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11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52D4F5-3288-4184-A999-520E6EB305C4}"/>
              </a:ext>
            </a:extLst>
          </p:cNvPr>
          <p:cNvSpPr/>
          <p:nvPr/>
        </p:nvSpPr>
        <p:spPr>
          <a:xfrm>
            <a:off x="6686550" y="904580"/>
            <a:ext cx="5076825" cy="49723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Aldine ISD – 2021-2022 Calendar</a:t>
            </a:r>
          </a:p>
          <a:p>
            <a:pPr algn="ctr"/>
            <a:r>
              <a:rPr lang="en-US" i="1">
                <a:solidFill>
                  <a:schemeClr val="tx1"/>
                </a:solidFill>
              </a:rPr>
              <a:t>30 Additional Days through Full Year Redesign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Start Date: </a:t>
            </a:r>
            <a:r>
              <a:rPr lang="en-US">
                <a:solidFill>
                  <a:schemeClr val="tx1"/>
                </a:solidFill>
              </a:rPr>
              <a:t>July 9, 2021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Additional Days: </a:t>
            </a:r>
            <a:r>
              <a:rPr lang="en-US">
                <a:solidFill>
                  <a:schemeClr val="tx1"/>
                </a:solidFill>
              </a:rPr>
              <a:t>Wednesdays throughout the school year (minimizes attendance risks for non-compulsory ADSY funding)</a:t>
            </a:r>
            <a:endParaRPr lang="en-US" b="1">
              <a:solidFill>
                <a:schemeClr val="tx1"/>
              </a:solidFill>
            </a:endParaRP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End Date: </a:t>
            </a:r>
            <a:r>
              <a:rPr lang="en-US">
                <a:solidFill>
                  <a:schemeClr val="tx1"/>
                </a:solidFill>
              </a:rPr>
              <a:t>6/9/22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Length of Summer Break: </a:t>
            </a:r>
            <a:r>
              <a:rPr lang="en-US">
                <a:solidFill>
                  <a:schemeClr val="tx1"/>
                </a:solidFill>
              </a:rPr>
              <a:t>4 weeks for all students</a:t>
            </a:r>
          </a:p>
          <a:p>
            <a:endParaRPr lang="en-US">
              <a:solidFill>
                <a:schemeClr val="tx1"/>
              </a:solidFill>
            </a:endParaRPr>
          </a:p>
          <a:p>
            <a:pPr algn="ctr"/>
            <a:r>
              <a:rPr lang="en-US" b="1" i="1">
                <a:hlinkClick r:id="rId3"/>
              </a:rPr>
              <a:t>bit.ly/aldine-</a:t>
            </a:r>
            <a:r>
              <a:rPr lang="en-US" b="1" i="1" err="1">
                <a:hlinkClick r:id="rId3"/>
              </a:rPr>
              <a:t>isd</a:t>
            </a:r>
            <a:r>
              <a:rPr lang="en-US" b="1" i="1">
                <a:hlinkClick r:id="rId3"/>
              </a:rPr>
              <a:t>-calendar</a:t>
            </a:r>
            <a:endParaRPr lang="en-US" b="1" i="1"/>
          </a:p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17C704-9B34-468A-A080-D7D0810442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8788" y="904580"/>
            <a:ext cx="3841450" cy="4972345"/>
          </a:xfrm>
          <a:prstGeom prst="rect">
            <a:avLst/>
          </a:prstGeom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id="{C0BE4CBB-694F-C826-EB83-A2D9CB4A4D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24893" y="52900"/>
            <a:ext cx="2267107" cy="116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9200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154BF-5EE3-4FEA-A450-92FE5BBCE8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IMS and Fiscal Consider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E00E43-D0D6-4121-A240-84B1E9A143D2}"/>
              </a:ext>
            </a:extLst>
          </p:cNvPr>
          <p:cNvSpPr txBox="1"/>
          <p:nvPr/>
        </p:nvSpPr>
        <p:spPr>
          <a:xfrm>
            <a:off x="742950" y="881742"/>
            <a:ext cx="105298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There are fiscal considerations around timing of funds (ADSY) or extending use of ESSER funds. It is critical to bring your finance team along as a core member of the planning committee.</a:t>
            </a:r>
          </a:p>
        </p:txBody>
      </p:sp>
      <p:pic>
        <p:nvPicPr>
          <p:cNvPr id="9" name="Graphic 8" descr="Future with solid fill">
            <a:extLst>
              <a:ext uri="{FF2B5EF4-FFF2-40B4-BE49-F238E27FC236}">
                <a16:creationId xmlns:a16="http://schemas.microsoft.com/office/drawing/2014/main" id="{853ED48E-4A07-4E47-BE92-C2FABDE79F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2980" y="1860940"/>
            <a:ext cx="914400" cy="9144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D330C20-F420-4AA3-A2EB-1713D31D0B59}"/>
              </a:ext>
            </a:extLst>
          </p:cNvPr>
          <p:cNvSpPr txBox="1"/>
          <p:nvPr/>
        </p:nvSpPr>
        <p:spPr>
          <a:xfrm>
            <a:off x="2352680" y="1731694"/>
            <a:ext cx="88058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ADSY Attendance Projections </a:t>
            </a:r>
            <a:r>
              <a:rPr lang="en-US" sz="2000" dirty="0"/>
              <a:t>– Attendance is projected on a biennial basis. If you did not project ADSY attendance for 2023-2024 or 2024-2025 in the winter of 2022, you can still receive ADSY funds, however it would be in the settle-up process after the year is over.</a:t>
            </a:r>
          </a:p>
        </p:txBody>
      </p:sp>
      <p:pic>
        <p:nvPicPr>
          <p:cNvPr id="12" name="Graphic 11" descr="Transfer with solid fill">
            <a:extLst>
              <a:ext uri="{FF2B5EF4-FFF2-40B4-BE49-F238E27FC236}">
                <a16:creationId xmlns:a16="http://schemas.microsoft.com/office/drawing/2014/main" id="{38FA20D2-F680-4D1C-7676-6B32DA941E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2980" y="3429000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EF60369-2955-D733-F09E-1053398FD746}"/>
              </a:ext>
            </a:extLst>
          </p:cNvPr>
          <p:cNvSpPr txBox="1"/>
          <p:nvPr/>
        </p:nvSpPr>
        <p:spPr>
          <a:xfrm>
            <a:off x="2352680" y="3255188"/>
            <a:ext cx="901636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Attaching to Associated School Year </a:t>
            </a:r>
            <a:r>
              <a:rPr lang="en-US" sz="1800" dirty="0"/>
              <a:t>– Summer ADSY days can be associated with either the previous school year or the following school year. This impacts the grade levels a campus/LEA would invite to the summer program. </a:t>
            </a:r>
            <a:r>
              <a:rPr lang="en-US" sz="1800" i="1" dirty="0"/>
              <a:t>This may also impact SIS rollover and require attendance to be collected manually.</a:t>
            </a:r>
            <a:endParaRPr lang="en-US" i="1" dirty="0"/>
          </a:p>
        </p:txBody>
      </p:sp>
      <p:pic>
        <p:nvPicPr>
          <p:cNvPr id="8" name="Graphic 7" descr="Disk with solid fill">
            <a:extLst>
              <a:ext uri="{FF2B5EF4-FFF2-40B4-BE49-F238E27FC236}">
                <a16:creationId xmlns:a16="http://schemas.microsoft.com/office/drawing/2014/main" id="{8C7CDCA5-04AC-91FC-592D-B7E6BCB053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2980" y="4789715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5825694-8597-80E5-2343-F59FD6ACFE78}"/>
              </a:ext>
            </a:extLst>
          </p:cNvPr>
          <p:cNvSpPr txBox="1"/>
          <p:nvPr/>
        </p:nvSpPr>
        <p:spPr>
          <a:xfrm>
            <a:off x="2352680" y="4810035"/>
            <a:ext cx="901636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Reporting with 180 days </a:t>
            </a:r>
            <a:r>
              <a:rPr lang="en-US" sz="1800" dirty="0"/>
              <a:t>– LEAs will receive a warning in the 3</a:t>
            </a:r>
            <a:r>
              <a:rPr lang="en-US" sz="1800" baseline="30000" dirty="0"/>
              <a:t>rd</a:t>
            </a:r>
            <a:r>
              <a:rPr lang="en-US" sz="1800" dirty="0"/>
              <a:t> PEIMS submission starting in 22-23 for any instructional calendars fewer than 180. PEIMS coordinators need to be aware of the ADSY program!</a:t>
            </a:r>
            <a:endParaRPr lang="en-US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84860B-1B6F-4B78-A0C9-8E679D0D4E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3771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8B58A-D4E7-9DE0-DD7B-3457ECA0D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gislation to Watch and 23-24 Updates</a:t>
            </a:r>
          </a:p>
        </p:txBody>
      </p:sp>
      <p:pic>
        <p:nvPicPr>
          <p:cNvPr id="4" name="Picture 5">
            <a:extLst>
              <a:ext uri="{FF2B5EF4-FFF2-40B4-BE49-F238E27FC236}">
                <a16:creationId xmlns:a16="http://schemas.microsoft.com/office/drawing/2014/main" id="{34A78F25-9CBE-1694-F547-203E0D859D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24893" y="52900"/>
            <a:ext cx="2267107" cy="116291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8F08521-81EE-D310-7396-11D6057EF9C9}"/>
              </a:ext>
            </a:extLst>
          </p:cNvPr>
          <p:cNvSpPr txBox="1"/>
          <p:nvPr/>
        </p:nvSpPr>
        <p:spPr>
          <a:xfrm>
            <a:off x="612475" y="1125396"/>
            <a:ext cx="108066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There are a couple of bills and waiver updates that we are monitoring as we get ready for the 23-24 school year. Guidance will be sent out if any of the following are enacted.</a:t>
            </a:r>
          </a:p>
        </p:txBody>
      </p:sp>
      <p:pic>
        <p:nvPicPr>
          <p:cNvPr id="6" name="Graphic 5" descr="Document outline">
            <a:extLst>
              <a:ext uri="{FF2B5EF4-FFF2-40B4-BE49-F238E27FC236}">
                <a16:creationId xmlns:a16="http://schemas.microsoft.com/office/drawing/2014/main" id="{889AE5C4-F2EA-6DCF-5BF7-CC3F4BA4F7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7310" y="1970314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B303B0-7E20-B0E2-40EE-6B98B3275315}"/>
              </a:ext>
            </a:extLst>
          </p:cNvPr>
          <p:cNvSpPr txBox="1"/>
          <p:nvPr/>
        </p:nvSpPr>
        <p:spPr>
          <a:xfrm>
            <a:off x="1741710" y="2227459"/>
            <a:ext cx="88058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HB 4317 </a:t>
            </a:r>
            <a:r>
              <a:rPr lang="en-US" sz="2000" dirty="0"/>
              <a:t>– Updates the minimum day requirement to 175 instead of 180.</a:t>
            </a:r>
          </a:p>
        </p:txBody>
      </p:sp>
      <p:pic>
        <p:nvPicPr>
          <p:cNvPr id="8" name="Graphic 7" descr="Document outline">
            <a:extLst>
              <a:ext uri="{FF2B5EF4-FFF2-40B4-BE49-F238E27FC236}">
                <a16:creationId xmlns:a16="http://schemas.microsoft.com/office/drawing/2014/main" id="{FDC7C33B-5395-6C1B-70B5-458BCF4886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7310" y="3101362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898DE59-3F39-24EF-EFEC-16FCC205D1F8}"/>
              </a:ext>
            </a:extLst>
          </p:cNvPr>
          <p:cNvSpPr txBox="1"/>
          <p:nvPr/>
        </p:nvSpPr>
        <p:spPr>
          <a:xfrm>
            <a:off x="1741709" y="3265401"/>
            <a:ext cx="88058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SB 2319 </a:t>
            </a:r>
            <a:r>
              <a:rPr lang="en-US" sz="2000" dirty="0"/>
              <a:t>– Updates the minimum day requirement to just minutes, and changes up-to 30 days to 12,600 minutes.</a:t>
            </a:r>
          </a:p>
        </p:txBody>
      </p:sp>
      <p:pic>
        <p:nvPicPr>
          <p:cNvPr id="11" name="Graphic 10" descr="Judge female outline">
            <a:extLst>
              <a:ext uri="{FF2B5EF4-FFF2-40B4-BE49-F238E27FC236}">
                <a16:creationId xmlns:a16="http://schemas.microsoft.com/office/drawing/2014/main" id="{C419D1A8-AB70-2680-B229-EC111B60F6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7310" y="4232410"/>
            <a:ext cx="914400" cy="9144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920D005-C2F5-7010-705C-CF18C36F32A3}"/>
              </a:ext>
            </a:extLst>
          </p:cNvPr>
          <p:cNvSpPr txBox="1"/>
          <p:nvPr/>
        </p:nvSpPr>
        <p:spPr>
          <a:xfrm>
            <a:off x="1741708" y="4335667"/>
            <a:ext cx="88058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SAAH/Waiver Updates </a:t>
            </a:r>
            <a:r>
              <a:rPr lang="en-US" sz="2000" dirty="0"/>
              <a:t>– Adds up to 5 days of flexibility to the 180 day requirement for weather/health/safety reasons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1BA92-FD01-7358-0C26-75BD872598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3436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45C811B-3A76-43E5-83A7-6E4C6838D5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ADSY Planning and Execution Program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1486A8-3C7E-4745-B2FD-36B4D2D3A48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69C126A4-BD19-47E2-8A0E-0DE1B9D8C92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8961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D1301C-14D6-42D4-A292-0328D3629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Y Planning and Execution Program </a:t>
            </a:r>
            <a:r>
              <a:rPr lang="en-US" dirty="0">
                <a:solidFill>
                  <a:schemeClr val="bg1"/>
                </a:solidFill>
              </a:rPr>
              <a:t>1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F9BB7C-DEA6-4BCE-9034-BE0E5F1F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B873A-B447-4FAD-8DCE-EE94BA9D211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4FA1AAF5-8218-4D16-B198-E72F8AE1379B}"/>
              </a:ext>
            </a:extLst>
          </p:cNvPr>
          <p:cNvSpPr txBox="1"/>
          <p:nvPr/>
        </p:nvSpPr>
        <p:spPr>
          <a:xfrm>
            <a:off x="592406" y="684313"/>
            <a:ext cx="118567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ADSY Planning and Execution Program (PEP) is a four-year process for school systems to design, implement, and continuously improve Summer Learning and Full Year Redesign options of the ADSY Initiative. 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program is not required to access ADSY funding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3B7672-8138-1C00-CC3F-FAE5378D9A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114" y="1269087"/>
            <a:ext cx="11666761" cy="4552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0110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323A0-D305-FF55-E234-5B5CF452C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683" y="100503"/>
            <a:ext cx="10964174" cy="751350"/>
          </a:xfrm>
        </p:spPr>
        <p:txBody>
          <a:bodyPr/>
          <a:lstStyle/>
          <a:p>
            <a:r>
              <a:rPr lang="en-US"/>
              <a:t>ADSY PEP Stakeholder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2440409-344F-942B-2E6D-E3B908C5A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7352" y="100503"/>
            <a:ext cx="2044648" cy="104880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E55DF15-1AEB-D08F-02A9-85D46B41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8253" y="1149305"/>
            <a:ext cx="10069033" cy="480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638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F87ABE-2BB1-40A9-B38A-897464DBD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cision 7: ADSY PEP Full Year Redesign Current State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6E83E82D-FBF0-463C-9B56-005C4138CF5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13246719"/>
              </p:ext>
            </p:extLst>
          </p:nvPr>
        </p:nvGraphicFramePr>
        <p:xfrm>
          <a:off x="2573817" y="2010571"/>
          <a:ext cx="6772416" cy="20269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75019">
                  <a:extLst>
                    <a:ext uri="{9D8B030D-6E8A-4147-A177-3AD203B41FA5}">
                      <a16:colId xmlns:a16="http://schemas.microsoft.com/office/drawing/2014/main" val="1317910426"/>
                    </a:ext>
                  </a:extLst>
                </a:gridCol>
                <a:gridCol w="1064765">
                  <a:extLst>
                    <a:ext uri="{9D8B030D-6E8A-4147-A177-3AD203B41FA5}">
                      <a16:colId xmlns:a16="http://schemas.microsoft.com/office/drawing/2014/main" val="884074527"/>
                    </a:ext>
                  </a:extLst>
                </a:gridCol>
                <a:gridCol w="933381">
                  <a:extLst>
                    <a:ext uri="{9D8B030D-6E8A-4147-A177-3AD203B41FA5}">
                      <a16:colId xmlns:a16="http://schemas.microsoft.com/office/drawing/2014/main" val="3037963873"/>
                    </a:ext>
                  </a:extLst>
                </a:gridCol>
                <a:gridCol w="1332721">
                  <a:extLst>
                    <a:ext uri="{9D8B030D-6E8A-4147-A177-3AD203B41FA5}">
                      <a16:colId xmlns:a16="http://schemas.microsoft.com/office/drawing/2014/main" val="1128430157"/>
                    </a:ext>
                  </a:extLst>
                </a:gridCol>
                <a:gridCol w="1285467">
                  <a:extLst>
                    <a:ext uri="{9D8B030D-6E8A-4147-A177-3AD203B41FA5}">
                      <a16:colId xmlns:a16="http://schemas.microsoft.com/office/drawing/2014/main" val="2464717146"/>
                    </a:ext>
                  </a:extLst>
                </a:gridCol>
                <a:gridCol w="1481063">
                  <a:extLst>
                    <a:ext uri="{9D8B030D-6E8A-4147-A177-3AD203B41FA5}">
                      <a16:colId xmlns:a16="http://schemas.microsoft.com/office/drawing/2014/main" val="36446320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chemeClr val="bg1"/>
                          </a:solidFill>
                        </a:rPr>
                        <a:t>Cycle #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chemeClr val="bg1"/>
                          </a:solidFill>
                        </a:rPr>
                        <a:t># of Active LEA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chemeClr val="bg1"/>
                          </a:solidFill>
                        </a:rPr>
                        <a:t>Implementation Year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chemeClr val="bg1"/>
                          </a:solidFill>
                        </a:rPr>
                        <a:t>ADSY Student Enrollmen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ADSY Day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Att. Rat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olidFill>
                            <a:schemeClr val="bg1"/>
                          </a:solidFill>
                        </a:rPr>
                        <a:t>Non-ADSY Day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olidFill>
                            <a:schemeClr val="bg1"/>
                          </a:solidFill>
                        </a:rPr>
                        <a:t>Att.  Rat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60773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1-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,1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6.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91.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93567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/>
                        <a:t>22-23</a:t>
                      </a:r>
                      <a:endParaRPr lang="en-US" b="0" i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48 </a:t>
                      </a:r>
                      <a:r>
                        <a:rPr lang="en-US" sz="1200" b="1" dirty="0"/>
                        <a:t>(estimated)</a:t>
                      </a:r>
                      <a:endParaRPr lang="en-US" b="1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1" dirty="0"/>
                        <a:t>Pend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1" dirty="0"/>
                        <a:t>Pending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115052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3-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1" dirty="0"/>
                        <a:t>TB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1" dirty="0"/>
                        <a:t>Pend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1" dirty="0"/>
                        <a:t>Pending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46483458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708DA54-4825-FB69-2331-C5F067A5F52B}"/>
              </a:ext>
            </a:extLst>
          </p:cNvPr>
          <p:cNvSpPr txBox="1"/>
          <p:nvPr/>
        </p:nvSpPr>
        <p:spPr>
          <a:xfrm>
            <a:off x="1586697" y="4497151"/>
            <a:ext cx="870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Decision 7 / Full Year Redesign remains a small grant program that is difficult to implement, but is seeing very promising student outcomes.  </a:t>
            </a:r>
          </a:p>
        </p:txBody>
      </p:sp>
    </p:spTree>
    <p:extLst>
      <p:ext uri="{BB962C8B-B14F-4D97-AF65-F5344CB8AC3E}">
        <p14:creationId xmlns:p14="http://schemas.microsoft.com/office/powerpoint/2010/main" val="9118182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4ACB12D-12E4-AE29-20A3-D174CEDE8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SY PEP Full Year Redesign Accountability Growth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AFE7E5-5CB2-6771-2ECF-892491D02F61}"/>
              </a:ext>
            </a:extLst>
          </p:cNvPr>
          <p:cNvSpPr txBox="1"/>
          <p:nvPr/>
        </p:nvSpPr>
        <p:spPr>
          <a:xfrm>
            <a:off x="592406" y="758201"/>
            <a:ext cx="111008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itial accountability data for Cycle 1 Full Year Redesign grantees shows participating campuses outperforming their LEA’s accountability growth by an average of 11 point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0409BAC-8223-F3C8-8D1F-5029DF24FC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674" y="1430968"/>
            <a:ext cx="10965223" cy="432703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59D8AE-F5E1-8504-EB1E-F0126981BB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C126A4-BD19-47E2-8A0E-0DE1B9D8C9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48827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F87ABE-2BB1-40A9-B38A-897464DBD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cision 8: ADSY PEP Summer Current State</a:t>
            </a:r>
          </a:p>
        </p:txBody>
      </p:sp>
      <p:pic>
        <p:nvPicPr>
          <p:cNvPr id="3" name="Picture 5">
            <a:extLst>
              <a:ext uri="{FF2B5EF4-FFF2-40B4-BE49-F238E27FC236}">
                <a16:creationId xmlns:a16="http://schemas.microsoft.com/office/drawing/2014/main" id="{CFC4F520-3EED-730F-B83B-BB365B73C4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24893" y="52900"/>
            <a:ext cx="2267107" cy="1162912"/>
          </a:xfrm>
          <a:prstGeom prst="rect">
            <a:avLst/>
          </a:prstGeom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6E83E82D-FBF0-463C-9B56-005C4138CF5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03950884"/>
              </p:ext>
            </p:extLst>
          </p:nvPr>
        </p:nvGraphicFramePr>
        <p:xfrm>
          <a:off x="3544233" y="1632976"/>
          <a:ext cx="4815269" cy="2397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01849">
                  <a:extLst>
                    <a:ext uri="{9D8B030D-6E8A-4147-A177-3AD203B41FA5}">
                      <a16:colId xmlns:a16="http://schemas.microsoft.com/office/drawing/2014/main" val="1317910426"/>
                    </a:ext>
                  </a:extLst>
                </a:gridCol>
                <a:gridCol w="1107088">
                  <a:extLst>
                    <a:ext uri="{9D8B030D-6E8A-4147-A177-3AD203B41FA5}">
                      <a16:colId xmlns:a16="http://schemas.microsoft.com/office/drawing/2014/main" val="884074527"/>
                    </a:ext>
                  </a:extLst>
                </a:gridCol>
                <a:gridCol w="1503166">
                  <a:extLst>
                    <a:ext uri="{9D8B030D-6E8A-4147-A177-3AD203B41FA5}">
                      <a16:colId xmlns:a16="http://schemas.microsoft.com/office/drawing/2014/main" val="3037963873"/>
                    </a:ext>
                  </a:extLst>
                </a:gridCol>
                <a:gridCol w="1503166">
                  <a:extLst>
                    <a:ext uri="{9D8B030D-6E8A-4147-A177-3AD203B41FA5}">
                      <a16:colId xmlns:a16="http://schemas.microsoft.com/office/drawing/2014/main" val="42191251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chemeClr val="bg1"/>
                          </a:solidFill>
                        </a:rPr>
                        <a:t>Cycle #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chemeClr val="bg1"/>
                          </a:solidFill>
                        </a:rPr>
                        <a:t># of Active LEA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chemeClr val="bg1"/>
                          </a:solidFill>
                        </a:rPr>
                        <a:t>Implementation Summer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Student Enrollmen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60773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,6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93567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2022</a:t>
                      </a:r>
                      <a:endParaRPr lang="en-US" b="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/>
                        <a:t>41,000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15052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2,000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64834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1" dirty="0"/>
                        <a:t>TB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173731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1655A69F-087F-F56B-D232-F6AE60C405A7}"/>
              </a:ext>
            </a:extLst>
          </p:cNvPr>
          <p:cNvSpPr txBox="1"/>
          <p:nvPr/>
        </p:nvSpPr>
        <p:spPr>
          <a:xfrm>
            <a:off x="1597583" y="4388293"/>
            <a:ext cx="870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Decision 8 / Strong Summer has supported over 5% of districts in the state implement an evidence-based summer program.  </a:t>
            </a:r>
          </a:p>
        </p:txBody>
      </p:sp>
    </p:spTree>
    <p:extLst>
      <p:ext uri="{BB962C8B-B14F-4D97-AF65-F5344CB8AC3E}">
        <p14:creationId xmlns:p14="http://schemas.microsoft.com/office/powerpoint/2010/main" val="35535466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425BE7-E686-483D-9094-407B29A94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795" y="158274"/>
            <a:ext cx="10964174" cy="751350"/>
          </a:xfrm>
        </p:spPr>
        <p:txBody>
          <a:bodyPr/>
          <a:lstStyle/>
          <a:p>
            <a:r>
              <a:rPr lang="en-US"/>
              <a:t>Key TEA Personn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268F9B-1572-49E8-BC37-549BC3414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8157" y="1026398"/>
            <a:ext cx="2696705" cy="493261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Graphic 8" descr="Meeting">
            <a:extLst>
              <a:ext uri="{FF2B5EF4-FFF2-40B4-BE49-F238E27FC236}">
                <a16:creationId xmlns:a16="http://schemas.microsoft.com/office/drawing/2014/main" id="{E441D6A7-F6FF-4863-9D5E-96AEA6C2FE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20555" y="3021999"/>
            <a:ext cx="914400" cy="9144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A1A48A1-BDEB-4A60-B38F-A94B1291F5D8}"/>
              </a:ext>
            </a:extLst>
          </p:cNvPr>
          <p:cNvSpPr txBox="1">
            <a:spLocks/>
          </p:cNvSpPr>
          <p:nvPr/>
        </p:nvSpPr>
        <p:spPr>
          <a:xfrm>
            <a:off x="410648" y="3928266"/>
            <a:ext cx="2734214" cy="7963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Open Sans Semibold" panose="020B0606030504020204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A3E26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(Headings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472C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 Light" panose="020B0306030504020204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472C4"/>
              </a:buClr>
              <a:buFontTx/>
              <a:buChar char="◦"/>
              <a:defRPr sz="1800" kern="1200">
                <a:solidFill>
                  <a:schemeClr val="tx1"/>
                </a:solidFill>
                <a:latin typeface="Open Sans Light" panose="020B0306030504020204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A3E2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 Light" panose="020B0306030504020204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TE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>
                <a:solidFill>
                  <a:prstClr val="white"/>
                </a:solidFill>
                <a:latin typeface="Calibri" panose="020F0502020204030204"/>
              </a:rPr>
              <a:t>Personnel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7CAC500D-B6CA-4AA3-A22D-795D553CD2F2}"/>
              </a:ext>
            </a:extLst>
          </p:cNvPr>
          <p:cNvSpPr txBox="1">
            <a:spLocks/>
          </p:cNvSpPr>
          <p:nvPr/>
        </p:nvSpPr>
        <p:spPr>
          <a:xfrm>
            <a:off x="3597937" y="1132366"/>
            <a:ext cx="7386440" cy="48266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Additional Days School Year (ADSY) Team</a:t>
            </a:r>
            <a:endParaRPr lang="en-US" sz="3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spcBef>
                <a:spcPts val="1200"/>
              </a:spcBef>
            </a:pPr>
            <a:r>
              <a:rPr lang="en-US" b="1" dirty="0">
                <a:solidFill>
                  <a:srgbClr val="0D6CB9"/>
                </a:solidFill>
                <a:latin typeface="Calibri"/>
                <a:cs typeface="Calibri"/>
              </a:rPr>
              <a:t>Brian Doran</a:t>
            </a:r>
          </a:p>
          <a:p>
            <a:pPr>
              <a:spcBef>
                <a:spcPts val="0"/>
              </a:spcBef>
            </a:pPr>
            <a:r>
              <a:rPr lang="en-US" sz="2400" dirty="0">
                <a:latin typeface="+mj-lt"/>
                <a:cs typeface="Calibri"/>
              </a:rPr>
              <a:t>Director of Expanded Learning Models</a:t>
            </a:r>
          </a:p>
          <a:p>
            <a:pPr>
              <a:spcBef>
                <a:spcPts val="1200"/>
              </a:spcBef>
            </a:pPr>
            <a:r>
              <a:rPr lang="en-US" b="1" dirty="0">
                <a:solidFill>
                  <a:srgbClr val="0D6CB9"/>
                </a:solidFill>
                <a:cs typeface="Calibri"/>
              </a:rPr>
              <a:t>Ruchamah Belizor</a:t>
            </a:r>
          </a:p>
          <a:p>
            <a:pPr>
              <a:spcBef>
                <a:spcPts val="0"/>
              </a:spcBef>
            </a:pPr>
            <a:r>
              <a:rPr lang="en-US" dirty="0">
                <a:latin typeface="+mj-lt"/>
                <a:cs typeface="Calibri"/>
              </a:rPr>
              <a:t>Summer Learning Project Manager!</a:t>
            </a:r>
          </a:p>
          <a:p>
            <a:pPr>
              <a:spcBef>
                <a:spcPts val="1200"/>
              </a:spcBef>
            </a:pPr>
            <a:r>
              <a:rPr lang="en-US" b="1" dirty="0">
                <a:solidFill>
                  <a:srgbClr val="0D6CB9"/>
                </a:solidFill>
                <a:latin typeface="Calibri"/>
                <a:cs typeface="Calibri"/>
              </a:rPr>
              <a:t>Currently Hiring</a:t>
            </a:r>
          </a:p>
          <a:p>
            <a:pPr>
              <a:spcBef>
                <a:spcPts val="0"/>
              </a:spcBef>
            </a:pPr>
            <a:r>
              <a:rPr lang="en-US" sz="2400" dirty="0">
                <a:latin typeface="+mj-lt"/>
                <a:cs typeface="Calibri"/>
              </a:rPr>
              <a:t>Manager of Additional Days School Year</a:t>
            </a:r>
          </a:p>
          <a:p>
            <a:pPr>
              <a:spcBef>
                <a:spcPts val="0"/>
              </a:spcBef>
            </a:pPr>
            <a:endParaRPr lang="en-US" sz="2400" dirty="0">
              <a:latin typeface="+mj-lt"/>
              <a:cs typeface="Calibri"/>
            </a:endParaRPr>
          </a:p>
          <a:p>
            <a:pPr>
              <a:spcBef>
                <a:spcPts val="0"/>
              </a:spcBef>
            </a:pPr>
            <a:endParaRPr lang="en-US" sz="2400" dirty="0">
              <a:latin typeface="+mj-lt"/>
              <a:cs typeface="Calibri"/>
            </a:endParaRPr>
          </a:p>
          <a:p>
            <a:pPr>
              <a:spcBef>
                <a:spcPts val="0"/>
              </a:spcBef>
            </a:pPr>
            <a:endParaRPr lang="en-US" sz="2400" dirty="0">
              <a:latin typeface="+mj-lt"/>
              <a:cs typeface="Calibri"/>
            </a:endParaRPr>
          </a:p>
          <a:p>
            <a:pPr>
              <a:spcBef>
                <a:spcPts val="0"/>
              </a:spcBef>
            </a:pPr>
            <a:endParaRPr lang="en-US" sz="2400" dirty="0">
              <a:latin typeface="+mj-lt"/>
              <a:cs typeface="Calibri"/>
            </a:endParaRPr>
          </a:p>
          <a:p>
            <a:pPr>
              <a:spcBef>
                <a:spcPts val="0"/>
              </a:spcBef>
            </a:pPr>
            <a:endParaRPr lang="en-US" sz="2400" dirty="0">
              <a:latin typeface="+mj-lt"/>
              <a:cs typeface="Calibri"/>
            </a:endParaRPr>
          </a:p>
          <a:p>
            <a:pPr>
              <a:spcBef>
                <a:spcPts val="0"/>
              </a:spcBef>
            </a:pPr>
            <a:endParaRPr lang="en-US" sz="2400" dirty="0">
              <a:latin typeface="+mj-lt"/>
              <a:cs typeface="Calibri"/>
            </a:endParaRPr>
          </a:p>
          <a:p>
            <a:pPr>
              <a:spcBef>
                <a:spcPts val="0"/>
              </a:spcBef>
            </a:pPr>
            <a:endParaRPr lang="en-US" sz="2400" dirty="0">
              <a:latin typeface="+mj-lt"/>
              <a:cs typeface="Calibri"/>
            </a:endParaRPr>
          </a:p>
          <a:p>
            <a:pPr>
              <a:spcBef>
                <a:spcPts val="0"/>
              </a:spcBef>
            </a:pPr>
            <a:endParaRPr lang="en-US" sz="2400" dirty="0"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9C6111-DD15-7D24-4EA8-EC305761BACC}"/>
              </a:ext>
            </a:extLst>
          </p:cNvPr>
          <p:cNvSpPr/>
          <p:nvPr/>
        </p:nvSpPr>
        <p:spPr>
          <a:xfrm>
            <a:off x="4586735" y="4869691"/>
            <a:ext cx="5408844" cy="8996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rgbClr val="0D6CB9"/>
                </a:solidFill>
                <a:latin typeface="Calibri"/>
                <a:cs typeface="Calibri"/>
              </a:rPr>
              <a:t>ADSY Inbox: </a:t>
            </a:r>
            <a:r>
              <a:rPr lang="en-US" sz="2800">
                <a:solidFill>
                  <a:srgbClr val="0D6CB9"/>
                </a:solidFill>
                <a:latin typeface="Calibri"/>
                <a:cs typeface="Calibri"/>
                <a:hlinkClick r:id="rId4"/>
              </a:rPr>
              <a:t>ADSY@tea.texas.gov</a:t>
            </a:r>
            <a:r>
              <a:rPr lang="en-US" sz="2800">
                <a:solidFill>
                  <a:srgbClr val="0D6CB9"/>
                </a:solidFill>
                <a:latin typeface="Calibri"/>
                <a:cs typeface="Calibri"/>
              </a:rPr>
              <a:t> 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4F928E84-CBEA-48E0-B50B-D76F6A14C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529126"/>
            <a:ext cx="2743200" cy="365125"/>
          </a:xfrm>
        </p:spPr>
        <p:txBody>
          <a:bodyPr/>
          <a:lstStyle/>
          <a:p>
            <a:fld id="{FF3B873A-B447-4FAD-8DCE-EE94BA9D21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024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C3697-7909-7DC7-8AFC-D96DF2FFED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Y PEP LEAs Across the State</a:t>
            </a: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944450FE-A766-AB42-3E16-AA3F0F1F69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24893" y="52900"/>
            <a:ext cx="2267107" cy="1162912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4B6EC1-DE34-A203-EB96-A1BA5BC518BF}"/>
              </a:ext>
            </a:extLst>
          </p:cNvPr>
          <p:cNvSpPr txBox="1">
            <a:spLocks/>
          </p:cNvSpPr>
          <p:nvPr/>
        </p:nvSpPr>
        <p:spPr>
          <a:xfrm>
            <a:off x="612475" y="2017445"/>
            <a:ext cx="4886325" cy="38365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lang="en-US"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rgbClr val="003663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DSY PEP has LEA representation across the state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92C83E"/>
                </a:solidFill>
                <a:latin typeface="Arial Black" panose="020B0604020202020204" pitchFamily="34" charset="0"/>
                <a:ea typeface="Open Sans" panose="020B0606030504020204" pitchFamily="34" charset="0"/>
                <a:cs typeface="Arial Black" panose="020B0604020202020204" pitchFamily="34" charset="0"/>
              </a:rPr>
              <a:t>45+ </a:t>
            </a:r>
            <a:r>
              <a:rPr lang="en-US" sz="1800" dirty="0">
                <a:solidFill>
                  <a:srgbClr val="003663"/>
                </a:solidFill>
                <a:ea typeface="Open Sans" panose="020B0606030504020204" pitchFamily="34" charset="0"/>
              </a:rPr>
              <a:t>LEAs implementing </a:t>
            </a:r>
            <a:r>
              <a:rPr lang="en-US" sz="1800" dirty="0">
                <a:solidFill>
                  <a:srgbClr val="92C83E"/>
                </a:solidFill>
                <a:latin typeface="Arial Black" panose="020B0604020202020204" pitchFamily="34" charset="0"/>
                <a:ea typeface="Open Sans" panose="020B0606030504020204" pitchFamily="34" charset="0"/>
                <a:cs typeface="Arial Black" panose="020B0604020202020204" pitchFamily="34" charset="0"/>
              </a:rPr>
              <a:t>Voluntary Summer Learning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88A3"/>
                </a:solidFill>
                <a:latin typeface="Arial Black" panose="020B0604020202020204" pitchFamily="34" charset="0"/>
                <a:ea typeface="Open Sans" panose="020B0606030504020204" pitchFamily="34" charset="0"/>
                <a:cs typeface="Arial Black" panose="020B0604020202020204" pitchFamily="34" charset="0"/>
              </a:rPr>
              <a:t>12</a:t>
            </a:r>
            <a:r>
              <a:rPr lang="en-US" sz="1800" dirty="0">
                <a:solidFill>
                  <a:srgbClr val="003663"/>
                </a:solidFill>
                <a:ea typeface="Open Sans" panose="020B0606030504020204" pitchFamily="34" charset="0"/>
              </a:rPr>
              <a:t> LEAs implementing </a:t>
            </a:r>
            <a:r>
              <a:rPr lang="en-US" sz="1800" dirty="0">
                <a:solidFill>
                  <a:srgbClr val="0088A3"/>
                </a:solidFill>
                <a:latin typeface="Arial Black" panose="020B0604020202020204" pitchFamily="34" charset="0"/>
                <a:ea typeface="Open Sans" panose="020B0606030504020204" pitchFamily="34" charset="0"/>
                <a:cs typeface="Arial Black" panose="020B0604020202020204" pitchFamily="34" charset="0"/>
              </a:rPr>
              <a:t>Full-Year Redesign or Intercessional Models</a:t>
            </a:r>
            <a:r>
              <a:rPr lang="en-US" sz="1800" dirty="0">
                <a:solidFill>
                  <a:srgbClr val="0088A3"/>
                </a:solidFill>
                <a:ea typeface="Open Sans" panose="020B0606030504020204" pitchFamily="34" charset="0"/>
              </a:rPr>
              <a:t> </a:t>
            </a:r>
            <a:r>
              <a:rPr lang="en-US" sz="1800" dirty="0">
                <a:solidFill>
                  <a:srgbClr val="003663"/>
                </a:solidFill>
                <a:ea typeface="Open Sans" panose="020B0606030504020204" pitchFamily="34" charset="0"/>
              </a:rPr>
              <a:t>in 2022-23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F39B91-3A0A-2929-5DF0-5F22D2C1E9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l="25694" t="1734" r="26629" b="3915"/>
          <a:stretch/>
        </p:blipFill>
        <p:spPr>
          <a:xfrm>
            <a:off x="6432678" y="1404064"/>
            <a:ext cx="4588936" cy="4368807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F86FD88-3572-3AE2-C182-70625772D6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282393" y="1481380"/>
            <a:ext cx="69273" cy="762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307181-3CC9-0CB6-E67A-C61693F1719C}"/>
              </a:ext>
            </a:extLst>
          </p:cNvPr>
          <p:cNvSpPr txBox="1"/>
          <p:nvPr/>
        </p:nvSpPr>
        <p:spPr>
          <a:xfrm>
            <a:off x="9330310" y="1404064"/>
            <a:ext cx="18098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Verdana" panose="020B0604030504040204" pitchFamily="34" charset="0"/>
                <a:ea typeface="Verdana" panose="020B0604030504040204" pitchFamily="34" charset="0"/>
              </a:rPr>
              <a:t>Voluntary Summer Learning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2E501DD-6CEC-6781-0BD5-CA83EA3793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282393" y="1703522"/>
            <a:ext cx="69273" cy="76200"/>
          </a:xfrm>
          <a:prstGeom prst="ellipse">
            <a:avLst/>
          </a:prstGeom>
          <a:solidFill>
            <a:srgbClr val="0088A3"/>
          </a:solidFill>
          <a:ln>
            <a:solidFill>
              <a:srgbClr val="0088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BE198D-90C5-A88E-D4C3-9B83C996A6E4}"/>
              </a:ext>
            </a:extLst>
          </p:cNvPr>
          <p:cNvSpPr txBox="1"/>
          <p:nvPr/>
        </p:nvSpPr>
        <p:spPr>
          <a:xfrm>
            <a:off x="9330310" y="1631334"/>
            <a:ext cx="27472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Verdana" panose="020B0604030504040204" pitchFamily="34" charset="0"/>
                <a:ea typeface="Verdana" panose="020B0604030504040204" pitchFamily="34" charset="0"/>
              </a:rPr>
              <a:t>Full-Year Redesign or Intersessional Model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3030AD2-259D-F53F-3B0E-2AF98EE740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282392" y="1941245"/>
            <a:ext cx="69273" cy="762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002F663-8946-D392-BE82-084D2592EC97}"/>
              </a:ext>
            </a:extLst>
          </p:cNvPr>
          <p:cNvSpPr txBox="1"/>
          <p:nvPr/>
        </p:nvSpPr>
        <p:spPr>
          <a:xfrm>
            <a:off x="9317028" y="1852155"/>
            <a:ext cx="240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Verdana" panose="020B0604030504040204" pitchFamily="34" charset="0"/>
                <a:ea typeface="Verdana" panose="020B0604030504040204" pitchFamily="34" charset="0"/>
              </a:rPr>
              <a:t>LEAs implementing both Model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4C85F6-FEED-3346-77DC-6D97C6261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8397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45C811B-3A76-43E5-83A7-6E4C6838D5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Budgeting for Summer Learning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1486A8-3C7E-4745-B2FD-36B4D2D3A48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69C126A4-BD19-47E2-8A0E-0DE1B9D8C925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9690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p58"/>
          <p:cNvSpPr txBox="1">
            <a:spLocks noGrp="1"/>
          </p:cNvSpPr>
          <p:nvPr>
            <p:ph type="title"/>
          </p:nvPr>
        </p:nvSpPr>
        <p:spPr>
          <a:xfrm>
            <a:off x="612475" y="153230"/>
            <a:ext cx="10964100" cy="751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Budgeting Tools - Most Common Sources of Summer Funding</a:t>
            </a:r>
            <a:endParaRPr dirty="0"/>
          </a:p>
        </p:txBody>
      </p:sp>
      <p:sp>
        <p:nvSpPr>
          <p:cNvPr id="463" name="Google Shape;463;p58"/>
          <p:cNvSpPr txBox="1">
            <a:spLocks noGrp="1"/>
          </p:cNvSpPr>
          <p:nvPr>
            <p:ph type="sldNum" idx="12"/>
          </p:nvPr>
        </p:nvSpPr>
        <p:spPr>
          <a:xfrm>
            <a:off x="9210675" y="6529126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2</a:t>
            </a:fld>
            <a:endParaRPr/>
          </a:p>
        </p:txBody>
      </p:sp>
      <p:graphicFrame>
        <p:nvGraphicFramePr>
          <p:cNvPr id="464" name="Google Shape;464;p58"/>
          <p:cNvGraphicFramePr/>
          <p:nvPr>
            <p:extLst>
              <p:ext uri="{D42A27DB-BD31-4B8C-83A1-F6EECF244321}">
                <p14:modId xmlns:p14="http://schemas.microsoft.com/office/powerpoint/2010/main" val="1570637197"/>
              </p:ext>
            </p:extLst>
          </p:nvPr>
        </p:nvGraphicFramePr>
        <p:xfrm>
          <a:off x="366300" y="917900"/>
          <a:ext cx="11587575" cy="4992381"/>
        </p:xfrm>
        <a:graphic>
          <a:graphicData uri="http://schemas.openxmlformats.org/drawingml/2006/table">
            <a:tbl>
              <a:tblPr firstRow="1">
                <a:noFill/>
              </a:tblPr>
              <a:tblGrid>
                <a:gridCol w="2533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3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058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300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2068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09575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unding Source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endParaRPr sz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A86E8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ederal vs. State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endParaRPr sz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A86E8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Type of Funding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endParaRPr sz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A86E8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unding Delivery Method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endParaRPr sz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A86E8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Timing for Receiving Funds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endParaRPr sz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A86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und Flexibility Level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endParaRPr sz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A86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1st CCLC 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ederal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Competitive Grant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New grants are awarded in grant cycles every 2-3 years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One grant cycle is five years long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HIGH: Funds can be used for academics or enrichment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8150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dditional Days School Year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mula Funding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ndation School Program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funding cycle (including settle-up)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HIGH: Funds are dispersed as general revenue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8150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arly Education Allotment 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mula Funding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ndation School Program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funding cycle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HIGH: Funds must go toward improving student performance 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nglish Learner Summer Program 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ederal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mula Funding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L units are reimbursed on a prorated basis </a:t>
                      </a:r>
                      <a:endParaRPr sz="11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nnually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LOW: Funds must be used on instruction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1025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Compensatory Education 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mula Funding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ndation School Program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funding cycle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HIGH: Funds must go toward increasing academic achievement and reducing dropout rates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81025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Teacher Incentive Allotment 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mula Funding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ndation School Program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nnually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LOW: Only TIA districts are eligible for this funding. Funds must go toward teacher compensation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Title Funds 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ederal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mula Funding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Drawdowns determined by districts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Drawdowns determined by districts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ARIES: Fund use is determined by Title Fund </a:t>
                      </a:r>
                      <a:endParaRPr sz="1100" dirty="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49A12-192E-4208-8340-ACD9FD6AC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Example: Stacking ADSY with 21</a:t>
            </a:r>
            <a:r>
              <a:rPr lang="en-US" baseline="30000"/>
              <a:t>st</a:t>
            </a:r>
            <a:r>
              <a:rPr lang="en-US"/>
              <a:t> CCLC Fund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34956F-D982-444B-94C9-0C444EBFA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B873A-B447-4FAD-8DCE-EE94BA9D211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A6EE8C0-1038-485C-96E8-37123E393E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0675" y="1423213"/>
            <a:ext cx="9987773" cy="16431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686D723-5B25-4830-959E-3663711E9F58}"/>
              </a:ext>
            </a:extLst>
          </p:cNvPr>
          <p:cNvSpPr txBox="1"/>
          <p:nvPr/>
        </p:nvSpPr>
        <p:spPr>
          <a:xfrm>
            <a:off x="841829" y="3585028"/>
            <a:ext cx="998777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SY funds can be ‘stacked’ with 21</a:t>
            </a:r>
            <a:r>
              <a:rPr kumimoji="0" lang="en-US" sz="24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entury/ACE funds in the same day if they are used as a supplemental aspect to the program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SY has a minimum instruction requirement of two hours per da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</a:t>
            </a:r>
            <a:r>
              <a:rPr kumimoji="0" lang="en-US" sz="24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CLC requires a four-hour summer day</a:t>
            </a:r>
          </a:p>
        </p:txBody>
      </p:sp>
    </p:spTree>
    <p:extLst>
      <p:ext uri="{BB962C8B-B14F-4D97-AF65-F5344CB8AC3E}">
        <p14:creationId xmlns:p14="http://schemas.microsoft.com/office/powerpoint/2010/main" val="8268746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45C811B-3A76-43E5-83A7-6E4C6838D5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3148" y="2169994"/>
            <a:ext cx="2899972" cy="2343445"/>
          </a:xfrm>
        </p:spPr>
        <p:txBody>
          <a:bodyPr/>
          <a:lstStyle/>
          <a:p>
            <a:r>
              <a:rPr lang="en-US" sz="2800" dirty="0"/>
              <a:t>Implementation Trend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1486A8-3C7E-4745-B2FD-36B4D2D3A48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69C126A4-BD19-47E2-8A0E-0DE1B9D8C925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1618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AB9B628-ADFB-8652-777B-BD4076FE39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6295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AB9B628-ADFB-8652-777B-BD4076FE39DC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A69183-861F-1333-8A08-951EC56D8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DSY District Participation and ESC Region</a:t>
            </a:r>
          </a:p>
        </p:txBody>
      </p:sp>
      <p:sp>
        <p:nvSpPr>
          <p:cNvPr id="21" name="Content Placeholder 19">
            <a:extLst>
              <a:ext uri="{FF2B5EF4-FFF2-40B4-BE49-F238E27FC236}">
                <a16:creationId xmlns:a16="http://schemas.microsoft.com/office/drawing/2014/main" id="{B5A93493-8411-CA83-7789-836621B982B9}"/>
              </a:ext>
            </a:extLst>
          </p:cNvPr>
          <p:cNvSpPr txBox="1">
            <a:spLocks/>
          </p:cNvSpPr>
          <p:nvPr/>
        </p:nvSpPr>
        <p:spPr>
          <a:xfrm>
            <a:off x="0" y="6672870"/>
            <a:ext cx="12072257" cy="185130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16038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s: PEIMS.  *An ESC region is considered “overrepresented” if more than 10% of districts in the cohort come from that region – 8 or more districts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F337560-1221-DB97-42B0-742D47B1B0CA}"/>
              </a:ext>
            </a:extLst>
          </p:cNvPr>
          <p:cNvSpPr>
            <a:spLocks noGrp="1"/>
          </p:cNvSpPr>
          <p:nvPr>
            <p:ph idx="2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26F346-4C88-5779-7B47-7B418DFC3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9633" y="1196255"/>
            <a:ext cx="11772990" cy="4705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4731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45C811B-3A76-43E5-83A7-6E4C6838D5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Q&amp;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1486A8-3C7E-4745-B2FD-36B4D2D3A48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69C126A4-BD19-47E2-8A0E-0DE1B9D8C925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Google Shape;486;p60">
            <a:extLst>
              <a:ext uri="{FF2B5EF4-FFF2-40B4-BE49-F238E27FC236}">
                <a16:creationId xmlns:a16="http://schemas.microsoft.com/office/drawing/2014/main" id="{99BC4E33-8203-4342-9070-BFCA3000D664}"/>
              </a:ext>
            </a:extLst>
          </p:cNvPr>
          <p:cNvSpPr txBox="1"/>
          <p:nvPr/>
        </p:nvSpPr>
        <p:spPr>
          <a:xfrm>
            <a:off x="3789680" y="5173839"/>
            <a:ext cx="7030720" cy="64629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800" i="1">
                <a:latin typeface="Calibri"/>
                <a:ea typeface="Calibri"/>
                <a:cs typeface="Calibri"/>
                <a:sym typeface="Calibri"/>
              </a:rPr>
              <a:t>For additional questions please visit </a:t>
            </a:r>
            <a:r>
              <a:rPr lang="en-US" sz="1800" i="1">
                <a:latin typeface="Calibri"/>
                <a:ea typeface="Calibri"/>
                <a:cs typeface="Calibri"/>
                <a:sym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ea.texas.gov/adsy</a:t>
            </a:r>
            <a:br>
              <a:rPr lang="en-US" sz="1800" i="1">
                <a:latin typeface="Calibri"/>
                <a:ea typeface="Calibri"/>
                <a:cs typeface="Calibri"/>
                <a:sym typeface="Calibri"/>
              </a:rPr>
            </a:br>
            <a:r>
              <a:rPr lang="en-US" sz="1800" i="1">
                <a:latin typeface="Calibri"/>
                <a:ea typeface="Calibri"/>
                <a:cs typeface="Calibri"/>
                <a:sym typeface="Calibri"/>
              </a:rPr>
              <a:t>or e-mail </a:t>
            </a:r>
            <a:r>
              <a:rPr lang="en-US" sz="1800" i="1">
                <a:latin typeface="Calibri"/>
                <a:ea typeface="Calibri"/>
                <a:cs typeface="Calibri"/>
                <a:sym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sy@tea.</a:t>
            </a:r>
            <a:r>
              <a:rPr lang="en-US" i="1">
                <a:latin typeface="Calibri"/>
                <a:ea typeface="Calibri"/>
                <a:cs typeface="Calibri"/>
                <a:sym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</a:t>
            </a:r>
            <a:r>
              <a:rPr lang="en-US" sz="1800" i="1">
                <a:latin typeface="Calibri"/>
                <a:ea typeface="Calibri"/>
                <a:cs typeface="Calibri"/>
                <a:sym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as.gov</a:t>
            </a:r>
            <a:endParaRPr sz="1800" i="1"/>
          </a:p>
        </p:txBody>
      </p:sp>
    </p:spTree>
    <p:extLst>
      <p:ext uri="{BB962C8B-B14F-4D97-AF65-F5344CB8AC3E}">
        <p14:creationId xmlns:p14="http://schemas.microsoft.com/office/powerpoint/2010/main" val="7446496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425BE7-E686-483D-9094-407B29A94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743" y="102430"/>
            <a:ext cx="10964174" cy="751350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EB5D7A2-B205-45B4-9099-B9723E6930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5743" y="989933"/>
            <a:ext cx="2696705" cy="493261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 descr="Clipboard Checked with solid fill">
            <a:extLst>
              <a:ext uri="{FF2B5EF4-FFF2-40B4-BE49-F238E27FC236}">
                <a16:creationId xmlns:a16="http://schemas.microsoft.com/office/drawing/2014/main" id="{1D27E301-6586-4F3C-8938-AB10036033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77955" y="2245360"/>
            <a:ext cx="1732280" cy="1732280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C9D471-CFD0-4B16-A9AA-DB7CFFBF60CD}"/>
              </a:ext>
            </a:extLst>
          </p:cNvPr>
          <p:cNvSpPr txBox="1">
            <a:spLocks/>
          </p:cNvSpPr>
          <p:nvPr/>
        </p:nvSpPr>
        <p:spPr>
          <a:xfrm>
            <a:off x="3273691" y="1007460"/>
            <a:ext cx="8222566" cy="481422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A3E26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(Headings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472C4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Open Sans Light" panose="020B0306030504020204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472C4"/>
              </a:buClr>
              <a:buFontTx/>
              <a:buChar char="◦"/>
              <a:defRPr sz="1800" kern="1200">
                <a:solidFill>
                  <a:schemeClr val="tx1"/>
                </a:solidFill>
                <a:latin typeface="Open Sans Light" panose="020B0306030504020204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A3E26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Open Sans Light" panose="020B0306030504020204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0" lvl="1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800" dirty="0">
                <a:cs typeface="Calibri Light"/>
              </a:rPr>
              <a:t>Additional Days School Year Overview</a:t>
            </a:r>
          </a:p>
          <a:p>
            <a:pPr marL="1143000" lvl="1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800" dirty="0">
                <a:cs typeface="Calibri Light"/>
              </a:rPr>
              <a:t>Design Considerations</a:t>
            </a:r>
          </a:p>
          <a:p>
            <a:pPr marL="1600200" lvl="2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400" dirty="0">
                <a:cs typeface="Calibri Light"/>
              </a:rPr>
              <a:t>Option 1: </a:t>
            </a:r>
            <a:r>
              <a:rPr lang="en-US" sz="2400" dirty="0">
                <a:solidFill>
                  <a:schemeClr val="accent3"/>
                </a:solidFill>
                <a:cs typeface="Calibri Light"/>
              </a:rPr>
              <a:t>Volunteer</a:t>
            </a:r>
            <a:r>
              <a:rPr lang="en-US" sz="2400" dirty="0">
                <a:cs typeface="Calibri Light"/>
              </a:rPr>
              <a:t> Summer Learning</a:t>
            </a:r>
          </a:p>
          <a:p>
            <a:pPr marL="1600200" lvl="2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400" dirty="0">
                <a:cs typeface="Calibri Light"/>
              </a:rPr>
              <a:t>Option 2: Intersessional Calendar</a:t>
            </a:r>
          </a:p>
          <a:p>
            <a:pPr marL="1600200" lvl="2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400" dirty="0">
                <a:cs typeface="Calibri Light"/>
              </a:rPr>
              <a:t>Option 3: Full Year Redesign</a:t>
            </a:r>
          </a:p>
          <a:p>
            <a:pPr marL="1143000" lvl="1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800" dirty="0">
                <a:cs typeface="Calibri Light"/>
              </a:rPr>
              <a:t>ADSY Planning and Execution Program</a:t>
            </a:r>
          </a:p>
          <a:p>
            <a:pPr marL="1143000" lvl="1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800" dirty="0">
                <a:cs typeface="Calibri Light"/>
              </a:rPr>
              <a:t>Budgeting Considerations </a:t>
            </a:r>
          </a:p>
          <a:p>
            <a:pPr marL="1143000" lvl="1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800" dirty="0">
                <a:cs typeface="Calibri Light"/>
              </a:rPr>
              <a:t>Observed and Anticipated Implementation</a:t>
            </a:r>
          </a:p>
          <a:p>
            <a:pPr marL="1143000" lvl="1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800" dirty="0">
                <a:cs typeface="Calibri Light"/>
              </a:rPr>
              <a:t>Q&amp;A</a:t>
            </a:r>
          </a:p>
          <a:p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671B3FC5-C7B8-46EE-A2A6-6E3874A4C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529126"/>
            <a:ext cx="2743200" cy="365125"/>
          </a:xfrm>
        </p:spPr>
        <p:txBody>
          <a:bodyPr/>
          <a:lstStyle/>
          <a:p>
            <a:fld id="{FF3B873A-B447-4FAD-8DCE-EE94BA9D21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549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425BE7-E686-483D-9094-407B29A94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clining Achievement During Summer Break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E4B9555-02B5-483B-9BC7-5D587A92B0E8}"/>
              </a:ext>
            </a:extLst>
          </p:cNvPr>
          <p:cNvSpPr txBox="1"/>
          <p:nvPr/>
        </p:nvSpPr>
        <p:spPr>
          <a:xfrm>
            <a:off x="219523" y="1168100"/>
            <a:ext cx="11807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b="1">
                <a:solidFill>
                  <a:srgbClr val="5B9BD5"/>
                </a:solidFill>
                <a:cs typeface="Calibri" panose="020F0502020204030204" pitchFamily="34" charset="0"/>
              </a:rPr>
              <a:t>Student achievement levels drop during the summer months, commonly referred to as the “summer slide”.</a:t>
            </a:r>
          </a:p>
        </p:txBody>
      </p:sp>
      <p:sp>
        <p:nvSpPr>
          <p:cNvPr id="88" name="Slide Number Placeholder 2">
            <a:extLst>
              <a:ext uri="{FF2B5EF4-FFF2-40B4-BE49-F238E27FC236}">
                <a16:creationId xmlns:a16="http://schemas.microsoft.com/office/drawing/2014/main" id="{7500FC9C-483C-4899-A6AF-E48CA4A393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521175"/>
            <a:ext cx="2743200" cy="365125"/>
          </a:xfrm>
        </p:spPr>
        <p:txBody>
          <a:bodyPr/>
          <a:lstStyle/>
          <a:p>
            <a:fld id="{FF3B873A-B447-4FAD-8DCE-EE94BA9D2118}" type="slidenum">
              <a:rPr lang="en-US" smtClean="0"/>
              <a:t>4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01ADA3B-6330-6E6A-965A-289E6DDA6B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877" y="2262617"/>
            <a:ext cx="11574998" cy="3762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544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83F11AF0-495E-4359-BA3C-0DA8792D5D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5722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83F11AF0-495E-4359-BA3C-0DA8792D5D1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>
            <a:extLst>
              <a:ext uri="{FF2B5EF4-FFF2-40B4-BE49-F238E27FC236}">
                <a16:creationId xmlns:a16="http://schemas.microsoft.com/office/drawing/2014/main" id="{91988BBF-81F3-4487-A8BD-7CA1F32DCA5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87194" y="270100"/>
            <a:ext cx="11704807" cy="75088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D6CB9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Economically disadvantaged students experienced greater learning loss in both reading and math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D6CB9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909449C-0F0B-206E-90A4-6A4925FF02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189254"/>
            <a:ext cx="12192000" cy="5665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171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" name="Google Shape;470;p59"/>
          <p:cNvSpPr txBox="1">
            <a:spLocks noGrp="1"/>
          </p:cNvSpPr>
          <p:nvPr>
            <p:ph type="title"/>
          </p:nvPr>
        </p:nvSpPr>
        <p:spPr>
          <a:xfrm>
            <a:off x="612475" y="153230"/>
            <a:ext cx="10964100" cy="751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Additional Days School Year (ADSY)</a:t>
            </a:r>
            <a:endParaRPr/>
          </a:p>
        </p:txBody>
      </p:sp>
      <p:sp>
        <p:nvSpPr>
          <p:cNvPr id="471" name="Google Shape;471;p59"/>
          <p:cNvSpPr txBox="1">
            <a:spLocks noGrp="1"/>
          </p:cNvSpPr>
          <p:nvPr>
            <p:ph type="sldNum" idx="12"/>
          </p:nvPr>
        </p:nvSpPr>
        <p:spPr>
          <a:xfrm>
            <a:off x="9210675" y="6529126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4B2A8E5C-B620-C957-747B-219E6A2B81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4893" y="52900"/>
            <a:ext cx="2267107" cy="116291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D96E168-B6B3-B9C8-3AB8-A062188264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036" y="1460163"/>
            <a:ext cx="10853928" cy="4462467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AFC4E3-CA01-4827-8925-A4D0EC721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SY Eligibility</a:t>
            </a:r>
          </a:p>
        </p:txBody>
      </p:sp>
      <p:pic>
        <p:nvPicPr>
          <p:cNvPr id="12" name="Graphic 11" descr="Children with solid fill">
            <a:extLst>
              <a:ext uri="{FF2B5EF4-FFF2-40B4-BE49-F238E27FC236}">
                <a16:creationId xmlns:a16="http://schemas.microsoft.com/office/drawing/2014/main" id="{1C489BDC-4B3C-4252-9F7E-B918B788F8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9658" y="788105"/>
            <a:ext cx="731520" cy="731520"/>
          </a:xfrm>
          <a:prstGeom prst="rect">
            <a:avLst/>
          </a:prstGeom>
        </p:spPr>
      </p:pic>
      <p:pic>
        <p:nvPicPr>
          <p:cNvPr id="7" name="Graphic 6" descr="Monthly calendar with solid fill">
            <a:extLst>
              <a:ext uri="{FF2B5EF4-FFF2-40B4-BE49-F238E27FC236}">
                <a16:creationId xmlns:a16="http://schemas.microsoft.com/office/drawing/2014/main" id="{97266C5B-81CB-4BAD-8DFB-0F5D401B2E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9658" y="1670731"/>
            <a:ext cx="731520" cy="731520"/>
          </a:xfrm>
          <a:prstGeom prst="rect">
            <a:avLst/>
          </a:prstGeom>
        </p:spPr>
      </p:pic>
      <p:pic>
        <p:nvPicPr>
          <p:cNvPr id="8" name="Graphic 7" descr="Clock with solid fill">
            <a:extLst>
              <a:ext uri="{FF2B5EF4-FFF2-40B4-BE49-F238E27FC236}">
                <a16:creationId xmlns:a16="http://schemas.microsoft.com/office/drawing/2014/main" id="{F5A5849C-D36E-4841-B150-9BCEDF60F4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9658" y="2767458"/>
            <a:ext cx="731520" cy="731520"/>
          </a:xfrm>
          <a:prstGeom prst="rect">
            <a:avLst/>
          </a:prstGeom>
        </p:spPr>
      </p:pic>
      <p:pic>
        <p:nvPicPr>
          <p:cNvPr id="9" name="Graphic 8" descr="Harvey Balls 50% with solid fill">
            <a:extLst>
              <a:ext uri="{FF2B5EF4-FFF2-40B4-BE49-F238E27FC236}">
                <a16:creationId xmlns:a16="http://schemas.microsoft.com/office/drawing/2014/main" id="{C83D923E-50EB-4275-9C9C-E2791B5F0C0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9658" y="3595782"/>
            <a:ext cx="731520" cy="731520"/>
          </a:xfrm>
          <a:prstGeom prst="rect">
            <a:avLst/>
          </a:prstGeom>
        </p:spPr>
      </p:pic>
      <p:pic>
        <p:nvPicPr>
          <p:cNvPr id="10" name="Graphic 9" descr="Classroom with solid fill">
            <a:extLst>
              <a:ext uri="{FF2B5EF4-FFF2-40B4-BE49-F238E27FC236}">
                <a16:creationId xmlns:a16="http://schemas.microsoft.com/office/drawing/2014/main" id="{E189ED72-3952-4F48-B68F-5F525686975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9658" y="4604627"/>
            <a:ext cx="731520" cy="618452"/>
          </a:xfrm>
          <a:prstGeom prst="rect">
            <a:avLst/>
          </a:prstGeom>
        </p:spPr>
      </p:pic>
      <p:pic>
        <p:nvPicPr>
          <p:cNvPr id="11" name="Graphic 10" descr="Settings with solid fill">
            <a:extLst>
              <a:ext uri="{FF2B5EF4-FFF2-40B4-BE49-F238E27FC236}">
                <a16:creationId xmlns:a16="http://schemas.microsoft.com/office/drawing/2014/main" id="{04D904C0-C50C-47B2-BC91-FCED907344B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39658" y="5342663"/>
            <a:ext cx="731520" cy="731520"/>
          </a:xfrm>
          <a:prstGeom prst="rect">
            <a:avLst/>
          </a:prstGeom>
        </p:spPr>
      </p:pic>
      <p:sp>
        <p:nvSpPr>
          <p:cNvPr id="6" name="Rectangle 8">
            <a:extLst>
              <a:ext uri="{FF2B5EF4-FFF2-40B4-BE49-F238E27FC236}">
                <a16:creationId xmlns:a16="http://schemas.microsoft.com/office/drawing/2014/main" id="{48C03C1D-73A7-4833-A9B9-AE4745869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3234" y="824078"/>
            <a:ext cx="9603959" cy="51090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cs typeface="Arial"/>
              </a:rPr>
              <a:t>Serve at least one grade level within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cs typeface="Arial"/>
              </a:rPr>
              <a:t>grades PreK-5</a:t>
            </a:r>
            <a:endParaRPr lang="en-US" altLang="en-US" sz="2200" b="1" i="0" u="none" strike="noStrike" cap="none" normalizeH="0" baseline="0" dirty="0">
              <a:ln>
                <a:noFill/>
              </a:ln>
              <a:solidFill>
                <a:srgbClr val="4472C4"/>
              </a:solidFill>
              <a:effectLst/>
              <a:latin typeface="+mn-lt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anose="020B0604020202020204" pitchFamily="34" charset="0"/>
            </a:endParaRPr>
          </a:p>
          <a:p>
            <a:r>
              <a:rPr lang="en-US" altLang="en-US" sz="2200" dirty="0">
                <a:solidFill>
                  <a:srgbClr val="4472C4"/>
                </a:solidFill>
                <a:latin typeface="+mn-lt"/>
                <a:ea typeface="Calibri" panose="020F0502020204030204" pitchFamily="34" charset="0"/>
                <a:cs typeface="Arial"/>
              </a:rPr>
              <a:t>Ensure the</a:t>
            </a:r>
            <a:r>
              <a:rPr lang="en-US" altLang="en-US" sz="2200" b="1" dirty="0">
                <a:solidFill>
                  <a:srgbClr val="4472C4"/>
                </a:solidFill>
                <a:latin typeface="+mn-lt"/>
                <a:ea typeface="Calibri" panose="020F0502020204030204" pitchFamily="34" charset="0"/>
                <a:cs typeface="Arial"/>
              </a:rPr>
              <a:t> campus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 academic calendar </a:t>
            </a:r>
            <a:r>
              <a:rPr lang="en-US" altLang="en-US" sz="2200" b="1" dirty="0">
                <a:solidFill>
                  <a:srgbClr val="4472C4"/>
                </a:solidFill>
                <a:latin typeface="+mn-lt"/>
                <a:ea typeface="Calibri" panose="020F0502020204030204" pitchFamily="34" charset="0"/>
                <a:cs typeface="Arial"/>
              </a:rPr>
              <a:t>will have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 at least 180 instructional days</a:t>
            </a: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, not including staff development waivers; ideal calendars also have two bad-weather make-up days identified</a:t>
            </a:r>
            <a:endParaRPr lang="en-US" altLang="en-US" sz="2200" b="0" i="0" u="none" strike="noStrike" cap="none" normalizeH="0" baseline="0" dirty="0">
              <a:ln>
                <a:noFill/>
              </a:ln>
              <a:solidFill>
                <a:srgbClr val="4472C4"/>
              </a:solidFill>
              <a:effectLst/>
              <a:latin typeface="+mn-lt"/>
              <a:ea typeface="Calibri" panose="020F0502020204030204" pitchFamily="34" charset="0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anose="020B0604020202020204" pitchFamily="34" charset="0"/>
            </a:endParaRPr>
          </a:p>
          <a:p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Have a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campus academic calendar with at least 75,600 </a:t>
            </a:r>
            <a:r>
              <a:rPr lang="en-US" altLang="en-US" sz="2200" b="1" dirty="0">
                <a:solidFill>
                  <a:srgbClr val="4472C4"/>
                </a:solidFill>
                <a:latin typeface="+mn-lt"/>
                <a:ea typeface="Calibri" panose="020F0502020204030204" pitchFamily="34" charset="0"/>
                <a:cs typeface="Arial"/>
              </a:rPr>
              <a:t>operational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minutes</a:t>
            </a:r>
            <a:endParaRPr lang="en-US" altLang="en-US" sz="2200" b="1" i="0" u="none" strike="noStrike" cap="none" normalizeH="0" baseline="0" dirty="0">
              <a:ln>
                <a:noFill/>
              </a:ln>
              <a:solidFill>
                <a:srgbClr val="4472C4"/>
              </a:solidFill>
              <a:effectLst/>
              <a:latin typeface="+mn-lt"/>
              <a:ea typeface="Calibri" panose="020F0502020204030204" pitchFamily="34" charset="0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Be willing to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add up to 30 additional half days of instruction </a:t>
            </a: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(ADSY days) to the 180 instructional days in a campus’s academic calendar</a:t>
            </a:r>
            <a:endParaRPr lang="en-US" altLang="en-US" sz="2200" b="0" i="0" u="none" strike="noStrike" cap="none" normalizeH="0" baseline="0" dirty="0">
              <a:ln>
                <a:noFill/>
              </a:ln>
              <a:solidFill>
                <a:srgbClr val="4472C4"/>
              </a:solidFill>
              <a:effectLst/>
              <a:latin typeface="+mn-lt"/>
              <a:ea typeface="Calibri" panose="020F0502020204030204" pitchFamily="34" charset="0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Have a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certified teacher</a:t>
            </a: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deliver at least two hours of instruction</a:t>
            </a: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 on dedicated ADSY days</a:t>
            </a:r>
            <a:endParaRPr lang="en-US" altLang="en-US" sz="2200" b="0" i="0" u="none" strike="noStrike" cap="none" normalizeH="0" baseline="0" dirty="0">
              <a:ln>
                <a:noFill/>
              </a:ln>
              <a:solidFill>
                <a:srgbClr val="4472C4"/>
              </a:solidFill>
              <a:effectLst/>
              <a:latin typeface="+mn-lt"/>
              <a:ea typeface="Calibri" panose="020F0502020204030204" pitchFamily="34" charset="0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4472C4"/>
              </a:solidFill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Host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ADSY days on separate days</a:t>
            </a: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 from regular instructional calendar days</a:t>
            </a:r>
            <a:endParaRPr kumimoji="0" lang="en-US" alt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DD3914-AC4F-4866-899E-B8330867A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718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425BE7-E686-483D-9094-407B29A94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SY Design Consideration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41F0C2D-14FA-6DFD-F74C-D0B4C76BAB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82" y="1126753"/>
            <a:ext cx="1441673" cy="146357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6FDB9E0-139E-4A6C-B15D-D02B97A8BDE7}"/>
              </a:ext>
            </a:extLst>
          </p:cNvPr>
          <p:cNvSpPr/>
          <p:nvPr/>
        </p:nvSpPr>
        <p:spPr>
          <a:xfrm>
            <a:off x="2240279" y="1083097"/>
            <a:ext cx="9211473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prstClr val="black"/>
              </a:buClr>
              <a:buSzPts val="2800"/>
            </a:pPr>
            <a:r>
              <a:rPr lang="en-US" sz="2800" b="1" dirty="0">
                <a:solidFill>
                  <a:srgbClr val="1682C5"/>
                </a:solidFill>
                <a:cs typeface="Calibri"/>
                <a:sym typeface="Calibri"/>
              </a:rPr>
              <a:t>Option 1: Voluntary Summer Learning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 dirty="0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 dirty="0">
                <a:solidFill>
                  <a:srgbClr val="7030A0"/>
                </a:solidFill>
                <a:cs typeface="Calibri"/>
                <a:sym typeface="Calibri"/>
              </a:rPr>
              <a:t>:</a:t>
            </a:r>
            <a:r>
              <a:rPr lang="en-US" sz="2400" dirty="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 Summer Enrichment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 dirty="0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 dirty="0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 dirty="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180-day traditional calendar, and up to 30 days for something additiona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56F7716-EA4E-8E18-E896-CFDBFC5397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75" y="2812499"/>
            <a:ext cx="1446815" cy="146879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81B1433-6C6D-413E-B20D-C9D940B7AC40}"/>
              </a:ext>
            </a:extLst>
          </p:cNvPr>
          <p:cNvSpPr/>
          <p:nvPr/>
        </p:nvSpPr>
        <p:spPr>
          <a:xfrm>
            <a:off x="2240279" y="2769888"/>
            <a:ext cx="9677401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800" b="1">
                <a:solidFill>
                  <a:srgbClr val="1682C5"/>
                </a:solidFill>
                <a:cs typeface="Calibri"/>
                <a:sym typeface="Calibri"/>
              </a:rPr>
              <a:t>Option 2: Intersessional Calendar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Targeted Remediation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180 days spaced out over the full year, with intermittent breaks for targeted remediation with a subset of student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288EC98-B6B7-6A59-2A89-99D4DE0768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82" y="4498246"/>
            <a:ext cx="1446339" cy="146879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C32B7B4-12D9-459F-9279-34F417AE355A}"/>
              </a:ext>
            </a:extLst>
          </p:cNvPr>
          <p:cNvSpPr/>
          <p:nvPr/>
        </p:nvSpPr>
        <p:spPr>
          <a:xfrm>
            <a:off x="2240278" y="4417106"/>
            <a:ext cx="9107129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800" b="1">
                <a:solidFill>
                  <a:srgbClr val="1682C5"/>
                </a:solidFill>
                <a:cs typeface="Calibri"/>
                <a:sym typeface="Calibri"/>
              </a:rPr>
              <a:t>Option 3: Full Year Redesign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Rethinking the School Day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A revamped 7x6-weeks calendar, daily schedule changes to increase teacher planning time and student play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5D8DC00-0F65-49E4-8371-196083F658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529126"/>
            <a:ext cx="2743200" cy="365125"/>
          </a:xfrm>
        </p:spPr>
        <p:txBody>
          <a:bodyPr/>
          <a:lstStyle/>
          <a:p>
            <a:fld id="{FF3B873A-B447-4FAD-8DCE-EE94BA9D21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483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4" grpId="0"/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DC4C1-3D7B-4831-AB65-B22E50EBD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er Program Examp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892D4D-4AF4-4219-A8E2-30B894F6B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9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52D4F5-3288-4184-A999-520E6EB305C4}"/>
              </a:ext>
            </a:extLst>
          </p:cNvPr>
          <p:cNvSpPr/>
          <p:nvPr/>
        </p:nvSpPr>
        <p:spPr>
          <a:xfrm>
            <a:off x="6686550" y="904580"/>
            <a:ext cx="5076825" cy="49723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 Snyder ISD – 2021-2022 Calendar</a:t>
            </a:r>
          </a:p>
          <a:p>
            <a:pPr algn="ctr"/>
            <a:r>
              <a:rPr lang="en-US" i="1">
                <a:solidFill>
                  <a:schemeClr val="tx1"/>
                </a:solidFill>
              </a:rPr>
              <a:t>30 Additional Days through Summer Program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Last Day of Academic Year: </a:t>
            </a:r>
            <a:r>
              <a:rPr lang="en-US">
                <a:solidFill>
                  <a:schemeClr val="tx1"/>
                </a:solidFill>
              </a:rPr>
              <a:t>June 11, 2021</a:t>
            </a:r>
          </a:p>
          <a:p>
            <a:endParaRPr lang="en-US" b="1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Summer Dates: </a:t>
            </a:r>
            <a:r>
              <a:rPr lang="en-US">
                <a:solidFill>
                  <a:schemeClr val="tx1"/>
                </a:solidFill>
              </a:rPr>
              <a:t>June 14 – July 30, 2021</a:t>
            </a:r>
          </a:p>
          <a:p>
            <a:r>
              <a:rPr lang="en-US" i="1">
                <a:solidFill>
                  <a:schemeClr val="tx1"/>
                </a:solidFill>
              </a:rPr>
              <a:t>Program follows evidence-based practices from RAND Getting to Work on Summer Learning (minimum of 25 six-hour days)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Start of Following Year: </a:t>
            </a:r>
            <a:r>
              <a:rPr lang="en-US">
                <a:solidFill>
                  <a:schemeClr val="tx1"/>
                </a:solidFill>
              </a:rPr>
              <a:t>August 11, 2021</a:t>
            </a:r>
          </a:p>
          <a:p>
            <a:endParaRPr lang="en-US" b="1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Length of Summer Break: </a:t>
            </a:r>
            <a:r>
              <a:rPr lang="en-US">
                <a:solidFill>
                  <a:schemeClr val="tx1"/>
                </a:solidFill>
              </a:rPr>
              <a:t> 1.5 weeks for students in Summer Intersession, 8.5 weeks for others</a:t>
            </a:r>
          </a:p>
          <a:p>
            <a:endParaRPr lang="en-US">
              <a:solidFill>
                <a:schemeClr val="tx1"/>
              </a:solidFill>
            </a:endParaRPr>
          </a:p>
          <a:p>
            <a:pPr algn="ctr"/>
            <a:r>
              <a:rPr lang="en-US" b="1" i="1">
                <a:hlinkClick r:id="rId3"/>
              </a:rPr>
              <a:t>bit.ly/</a:t>
            </a:r>
            <a:r>
              <a:rPr lang="en-US" b="1" i="1" err="1">
                <a:hlinkClick r:id="rId3"/>
              </a:rPr>
              <a:t>snyder</a:t>
            </a:r>
            <a:r>
              <a:rPr lang="en-US" b="1" i="1">
                <a:hlinkClick r:id="rId3"/>
              </a:rPr>
              <a:t>-summer-schedule</a:t>
            </a:r>
            <a:endParaRPr lang="en-US" b="1" i="1"/>
          </a:p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40D7EF-327F-45C6-80E2-0AB36B268A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0356" y="1074560"/>
            <a:ext cx="3815095" cy="4802365"/>
          </a:xfrm>
          <a:prstGeom prst="rect">
            <a:avLst/>
          </a:prstGeom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id="{C1B611A0-5854-2FC4-7E20-997EBE40A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24893" y="52900"/>
            <a:ext cx="2267107" cy="116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263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TEA New">
      <a:dk1>
        <a:sysClr val="windowText" lastClr="000000"/>
      </a:dk1>
      <a:lt1>
        <a:sysClr val="window" lastClr="FFFFFF"/>
      </a:lt1>
      <a:dk2>
        <a:srgbClr val="005786"/>
      </a:dk2>
      <a:lt2>
        <a:srgbClr val="D8D8D8"/>
      </a:lt2>
      <a:accent1>
        <a:srgbClr val="0D6CB9"/>
      </a:accent1>
      <a:accent2>
        <a:srgbClr val="F16038"/>
      </a:accent2>
      <a:accent3>
        <a:srgbClr val="DA3E26"/>
      </a:accent3>
      <a:accent4>
        <a:srgbClr val="70417F"/>
      </a:accent4>
      <a:accent5>
        <a:srgbClr val="363534"/>
      </a:accent5>
      <a:accent6>
        <a:srgbClr val="00486E"/>
      </a:accent6>
      <a:hlink>
        <a:srgbClr val="1682C5"/>
      </a:hlink>
      <a:folHlink>
        <a:srgbClr val="F0603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Light_option" id="{6F1FE863-83B4-4866-B719-DE25AC78EEBC}" vid="{51F349BD-1C43-4027-BF50-E2EAF8C686DF}"/>
    </a:ext>
  </a:extLst>
</a:theme>
</file>

<file path=ppt/theme/theme2.xml><?xml version="1.0" encoding="utf-8"?>
<a:theme xmlns:a="http://schemas.openxmlformats.org/drawingml/2006/main" name="3_Office Forma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TEA New">
      <a:dk1>
        <a:sysClr val="windowText" lastClr="000000"/>
      </a:dk1>
      <a:lt1>
        <a:sysClr val="window" lastClr="FFFFFF"/>
      </a:lt1>
      <a:dk2>
        <a:srgbClr val="005786"/>
      </a:dk2>
      <a:lt2>
        <a:srgbClr val="D8D8D8"/>
      </a:lt2>
      <a:accent1>
        <a:srgbClr val="0D6CB9"/>
      </a:accent1>
      <a:accent2>
        <a:srgbClr val="F16038"/>
      </a:accent2>
      <a:accent3>
        <a:srgbClr val="DA3E26"/>
      </a:accent3>
      <a:accent4>
        <a:srgbClr val="70417F"/>
      </a:accent4>
      <a:accent5>
        <a:srgbClr val="363534"/>
      </a:accent5>
      <a:accent6>
        <a:srgbClr val="00486E"/>
      </a:accent6>
      <a:hlink>
        <a:srgbClr val="1682C5"/>
      </a:hlink>
      <a:folHlink>
        <a:srgbClr val="F0603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A_Presentation_Template_Light_option" id="{6F1FE863-83B4-4866-B719-DE25AC78EEBC}" vid="{51F349BD-1C43-4027-BF50-E2EAF8C686DF}"/>
    </a:ext>
  </a:extLst>
</a:theme>
</file>

<file path=ppt/theme/theme4.xml><?xml version="1.0" encoding="utf-8"?>
<a:theme xmlns:a="http://schemas.openxmlformats.org/drawingml/2006/main" name="4_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Office Theme">
  <a:themeElements>
    <a:clrScheme name="TEA New">
      <a:dk1>
        <a:sysClr val="windowText" lastClr="000000"/>
      </a:dk1>
      <a:lt1>
        <a:sysClr val="window" lastClr="FFFFFF"/>
      </a:lt1>
      <a:dk2>
        <a:srgbClr val="005786"/>
      </a:dk2>
      <a:lt2>
        <a:srgbClr val="D8D8D8"/>
      </a:lt2>
      <a:accent1>
        <a:srgbClr val="0D6CB9"/>
      </a:accent1>
      <a:accent2>
        <a:srgbClr val="F16038"/>
      </a:accent2>
      <a:accent3>
        <a:srgbClr val="DA3E26"/>
      </a:accent3>
      <a:accent4>
        <a:srgbClr val="70417F"/>
      </a:accent4>
      <a:accent5>
        <a:srgbClr val="363534"/>
      </a:accent5>
      <a:accent6>
        <a:srgbClr val="00486E"/>
      </a:accent6>
      <a:hlink>
        <a:srgbClr val="1682C5"/>
      </a:hlink>
      <a:folHlink>
        <a:srgbClr val="F0603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CF0D7F3F-B121-413F-AF68-5F12358EDFE4}" vid="{39A9C175-9B9C-4854-8C4B-695C4BAA07A9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5482E0612C79C4DAF890B796756ADF3" ma:contentTypeVersion="16" ma:contentTypeDescription="Create a new document." ma:contentTypeScope="" ma:versionID="2cb717abb1f248597949955418dffc71">
  <xsd:schema xmlns:xsd="http://www.w3.org/2001/XMLSchema" xmlns:xs="http://www.w3.org/2001/XMLSchema" xmlns:p="http://schemas.microsoft.com/office/2006/metadata/properties" xmlns:ns2="50bea747-0549-4fa5-b568-8eb9823dfb48" xmlns:ns3="4e5874fa-d0ef-44ad-85dd-d467335310e7" xmlns:ns4="c18b84e2-5de8-440b-bd0f-9ce3687c8921" targetNamespace="http://schemas.microsoft.com/office/2006/metadata/properties" ma:root="true" ma:fieldsID="04d238cfea34fb5b0ccde85f016cf1ea" ns2:_="" ns3:_="" ns4:_="">
    <xsd:import namespace="50bea747-0549-4fa5-b568-8eb9823dfb48"/>
    <xsd:import namespace="4e5874fa-d0ef-44ad-85dd-d467335310e7"/>
    <xsd:import namespace="c18b84e2-5de8-440b-bd0f-9ce3687c89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bea747-0549-4fa5-b568-8eb9823dfb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3b7a77b5-e59d-49f3-97a2-3dde868dbe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5874fa-d0ef-44ad-85dd-d467335310e7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8b84e2-5de8-440b-bd0f-9ce3687c8921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60d16e74-f922-4126-ae4d-9faa2536c169}" ma:internalName="TaxCatchAll" ma:showField="CatchAllData" ma:web="c18b84e2-5de8-440b-bd0f-9ce3687c89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18b84e2-5de8-440b-bd0f-9ce3687c8921" xsi:nil="true"/>
    <lcf76f155ced4ddcb4097134ff3c332f xmlns="50bea747-0549-4fa5-b568-8eb9823dfb4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D525B15-CE1F-4BFF-A822-D9E4B5A417F8}">
  <ds:schemaRefs>
    <ds:schemaRef ds:uri="4e5874fa-d0ef-44ad-85dd-d467335310e7"/>
    <ds:schemaRef ds:uri="50bea747-0549-4fa5-b568-8eb9823dfb48"/>
    <ds:schemaRef ds:uri="c18b84e2-5de8-440b-bd0f-9ce3687c892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438415F-CA52-4AC6-B74C-FE95CEB90D1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9692CD-7339-4E15-8B85-65EB8EAE7D52}">
  <ds:schemaRefs>
    <ds:schemaRef ds:uri="50bea747-0549-4fa5-b568-8eb9823dfb48"/>
    <ds:schemaRef ds:uri="http://purl.org/dc/terms/"/>
    <ds:schemaRef ds:uri="http://schemas.microsoft.com/office/2006/documentManagement/types"/>
    <ds:schemaRef ds:uri="4e5874fa-d0ef-44ad-85dd-d467335310e7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c18b84e2-5de8-440b-bd0f-9ce3687c8921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4</TotalTime>
  <Words>1489</Words>
  <Application>Microsoft Office PowerPoint</Application>
  <PresentationFormat>Widescreen</PresentationFormat>
  <Paragraphs>259</Paragraphs>
  <Slides>2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4" baseType="lpstr">
      <vt:lpstr>Arial</vt:lpstr>
      <vt:lpstr>Arial Black</vt:lpstr>
      <vt:lpstr>Calibri</vt:lpstr>
      <vt:lpstr>Calibri Light</vt:lpstr>
      <vt:lpstr>Courier New</vt:lpstr>
      <vt:lpstr>Noto Sans Symbols</vt:lpstr>
      <vt:lpstr>Open Sans</vt:lpstr>
      <vt:lpstr>Open Sans (Headings)</vt:lpstr>
      <vt:lpstr>Open Sans Light</vt:lpstr>
      <vt:lpstr>Open Sans Semibold</vt:lpstr>
      <vt:lpstr>Verdana</vt:lpstr>
      <vt:lpstr>Wingdings</vt:lpstr>
      <vt:lpstr>2_Office Theme</vt:lpstr>
      <vt:lpstr>3_Office Format</vt:lpstr>
      <vt:lpstr>3_Office Theme</vt:lpstr>
      <vt:lpstr>4_TEA Main Slide</vt:lpstr>
      <vt:lpstr>4_Office Theme</vt:lpstr>
      <vt:lpstr>think-cell Slide</vt:lpstr>
      <vt:lpstr>Additional Days School Year Overview March 21, 2023</vt:lpstr>
      <vt:lpstr>Key TEA Personnel</vt:lpstr>
      <vt:lpstr>Agenda</vt:lpstr>
      <vt:lpstr>Declining Achievement During Summer Breaks</vt:lpstr>
      <vt:lpstr>Economically disadvantaged students experienced greater learning loss in both reading and math</vt:lpstr>
      <vt:lpstr>Additional Days School Year (ADSY)</vt:lpstr>
      <vt:lpstr>ADSY Eligibility</vt:lpstr>
      <vt:lpstr>ADSY Design Considerations</vt:lpstr>
      <vt:lpstr>Summer Program Example</vt:lpstr>
      <vt:lpstr>Intersessional Calendar Example</vt:lpstr>
      <vt:lpstr>Full Year Redesign Calendar Example</vt:lpstr>
      <vt:lpstr>PEIMS and Fiscal Considerations</vt:lpstr>
      <vt:lpstr>Legislation to Watch and 23-24 Updates</vt:lpstr>
      <vt:lpstr>ADSY Planning and Execution Program</vt:lpstr>
      <vt:lpstr>ADSY Planning and Execution Program 1</vt:lpstr>
      <vt:lpstr>ADSY PEP Stakeholders </vt:lpstr>
      <vt:lpstr>Decision 7: ADSY PEP Full Year Redesign Current State</vt:lpstr>
      <vt:lpstr>ADSY PEP Full Year Redesign Accountability Growth </vt:lpstr>
      <vt:lpstr>Decision 8: ADSY PEP Summer Current State</vt:lpstr>
      <vt:lpstr>ADSY PEP LEAs Across the State</vt:lpstr>
      <vt:lpstr>Budgeting for Summer Learning</vt:lpstr>
      <vt:lpstr>Budgeting Tools - Most Common Sources of Summer Funding</vt:lpstr>
      <vt:lpstr>Example: Stacking ADSY with 21st CCLC Funds</vt:lpstr>
      <vt:lpstr>Implementation Trends</vt:lpstr>
      <vt:lpstr>ADSY District Participation and ESC Region</vt:lpstr>
      <vt:lpstr>Q&amp;A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ER Big Questions</dc:title>
  <dc:creator>Catlett, Emma</dc:creator>
  <cp:lastModifiedBy>Muffoletto, Jamie</cp:lastModifiedBy>
  <cp:revision>3</cp:revision>
  <dcterms:created xsi:type="dcterms:W3CDTF">2020-11-13T22:49:34Z</dcterms:created>
  <dcterms:modified xsi:type="dcterms:W3CDTF">2023-03-21T00:1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482E0612C79C4DAF890B796756ADF3</vt:lpwstr>
  </property>
  <property fmtid="{D5CDD505-2E9C-101B-9397-08002B2CF9AE}" pid="3" name="MediaServiceImageTags">
    <vt:lpwstr/>
  </property>
</Properties>
</file>